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1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 id="2147475261" r:id="rId95"/>
    <p:sldId id="2147475262" r:id="rId96"/>
    <p:sldId id="2147475263" r:id="rId97"/>
    <p:sldId id="2147475264" r:id="rId98"/>
    <p:sldId id="2147475265" r:id="rId99"/>
    <p:sldId id="2147475266" r:id="rId100"/>
    <p:sldId id="2147475267" r:id="rId101"/>
    <p:sldId id="2147475268" r:id="rId102"/>
    <p:sldId id="2147475269" r:id="rId103"/>
    <p:sldId id="2147475270" r:id="rId104"/>
    <p:sldId id="2147475271" r:id="rId105"/>
    <p:sldId id="2147475272" r:id="rId106"/>
    <p:sldId id="2147475273" r:id="rId107"/>
    <p:sldId id="2147475274" r:id="rId108"/>
    <p:sldId id="2147475275" r:id="rId10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E758B21B-08B7-4BBC-A223-53EECCE49F2B}">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gment" id="{A3ED5A3F-BC7E-41C1-9144-D091399A9075}">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notesMaster" Target="notesMasters/notesMaster1.xml"/><Relationship Id="rId111" Type="http://schemas.openxmlformats.org/officeDocument/2006/relationships/presProps" Target="presProps.xml"/><Relationship Id="rId112" Type="http://schemas.openxmlformats.org/officeDocument/2006/relationships/viewProps" Target="viewProps.xml"/><Relationship Id="rId113" Type="http://schemas.openxmlformats.org/officeDocument/2006/relationships/theme" Target="theme/theme1.xml"/><Relationship Id="rId114" Type="http://schemas.openxmlformats.org/officeDocument/2006/relationships/tableStyles" Target="tableStyles.xml"/><Relationship Id="rId115" Type="http://schemas.microsoft.com/office/2015/10/relationships/revisionInfo" Target="revisionInfo.xml"/><Relationship Id="rId11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1.xml.rels><?xml version='1.0' encoding='UTF-8' standalone='yes'?>
<Relationships xmlns="http://schemas.openxmlformats.org/package/2006/relationships"><Relationship Id="rId1"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0.xml.rels><?xml version='1.0' encoding='UTF-8' standalone='yes'?>
<Relationships xmlns="http://schemas.openxmlformats.org/package/2006/relationships"><Relationship Id="rId1" Type="http://schemas.openxmlformats.org/officeDocument/2006/relationships/package" Target="../embeddings/Microsoft_Excel_Worksheet1109.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1.xml.rels><?xml version='1.0' encoding='UTF-8' standalone='yes'?>
<Relationships xmlns="http://schemas.openxmlformats.org/package/2006/relationships"><Relationship Id="rId1"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openxmlformats.org/officeDocument/2006/relationships/package" Target="../embeddings/Microsoft_Excel_Worksheet1121.xlsx"/></Relationships>
</file>

<file path=ppt/charts/_rels/chart1123.xml.rels><?xml version='1.0' encoding='UTF-8' standalone='yes'?>
<Relationships xmlns="http://schemas.openxmlformats.org/package/2006/relationships"><Relationship Id="rId1" Type="http://schemas.openxmlformats.org/officeDocument/2006/relationships/package" Target="../embeddings/Microsoft_Excel_Worksheet1122.xlsx"/></Relationships>
</file>

<file path=ppt/charts/_rels/chart1124.xml.rels><?xml version='1.0' encoding='UTF-8' standalone='yes'?>
<Relationships xmlns="http://schemas.openxmlformats.org/package/2006/relationships"><Relationship Id="rId1" Type="http://schemas.openxmlformats.org/officeDocument/2006/relationships/package" Target="../embeddings/Microsoft_Excel_Worksheet1123.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package" Target="../embeddings/Microsoft_Excel_Worksheet1128.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30.xml.rels><?xml version='1.0' encoding='UTF-8' standalone='yes'?>
<Relationships xmlns="http://schemas.openxmlformats.org/package/2006/relationships"><Relationship Id="rId1" Type="http://schemas.openxmlformats.org/officeDocument/2006/relationships/package" Target="../embeddings/Microsoft_Excel_Worksheet112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3.xml.rels><?xml version='1.0' encoding='UTF-8' standalone='yes'?>
<Relationships xmlns="http://schemas.openxmlformats.org/package/2006/relationships"><Relationship Id="rId1" Type="http://schemas.openxmlformats.org/officeDocument/2006/relationships/package" Target="../embeddings/Microsoft_Excel_Worksheet1132.xlsx"/></Relationships>
</file>

<file path=ppt/charts/_rels/chart1134.xml.rels><?xml version='1.0' encoding='UTF-8' standalone='yes'?>
<Relationships xmlns="http://schemas.openxmlformats.org/package/2006/relationships"><Relationship Id="rId1"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package" Target="../embeddings/Microsoft_Excel_Worksheet1135.xlsx"/></Relationships>
</file>

<file path=ppt/charts/_rels/chart1137.xml.rels><?xml version='1.0' encoding='UTF-8' standalone='yes'?>
<Relationships xmlns="http://schemas.openxmlformats.org/package/2006/relationships"><Relationship Id="rId1" Type="http://schemas.openxmlformats.org/officeDocument/2006/relationships/package" Target="../embeddings/Microsoft_Excel_Worksheet1136.xlsx"/></Relationships>
</file>

<file path=ppt/charts/_rels/chart1138.xml.rels><?xml version='1.0' encoding='UTF-8' standalone='yes'?>
<Relationships xmlns="http://schemas.openxmlformats.org/package/2006/relationships"><Relationship Id="rId1" Type="http://schemas.openxmlformats.org/officeDocument/2006/relationships/package" Target="../embeddings/Microsoft_Excel_Worksheet1137.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1.xml.rels><?xml version='1.0' encoding='UTF-8' standalone='yes'?>
<Relationships xmlns="http://schemas.openxmlformats.org/package/2006/relationships"><Relationship Id="rId1" Type="http://schemas.openxmlformats.org/officeDocument/2006/relationships/package" Target="../embeddings/Microsoft_Excel_Worksheet1140.xlsx"/></Relationships>
</file>

<file path=ppt/charts/_rels/chart1142.xml.rels><?xml version='1.0' encoding='UTF-8' standalone='yes'?>
<Relationships xmlns="http://schemas.openxmlformats.org/package/2006/relationships"><Relationship Id="rId1" Type="http://schemas.openxmlformats.org/officeDocument/2006/relationships/package" Target="../embeddings/Microsoft_Excel_Worksheet1141.xlsx"/></Relationships>
</file>

<file path=ppt/charts/_rels/chart1143.xml.rels><?xml version='1.0' encoding='UTF-8' standalone='yes'?>
<Relationships xmlns="http://schemas.openxmlformats.org/package/2006/relationships"><Relationship Id="rId1" Type="http://schemas.openxmlformats.org/officeDocument/2006/relationships/package" Target="../embeddings/Microsoft_Excel_Worksheet1142.xlsx"/></Relationships>
</file>

<file path=ppt/charts/_rels/chart1144.xml.rels><?xml version='1.0' encoding='UTF-8' standalone='yes'?>
<Relationships xmlns="http://schemas.openxmlformats.org/package/2006/relationships"><Relationship Id="rId1" Type="http://schemas.openxmlformats.org/officeDocument/2006/relationships/package" Target="../embeddings/Microsoft_Excel_Worksheet1143.xlsx"/></Relationships>
</file>

<file path=ppt/charts/_rels/chart1145.xml.rels><?xml version='1.0' encoding='UTF-8' standalone='yes'?>
<Relationships xmlns="http://schemas.openxmlformats.org/package/2006/relationships"><Relationship Id="rId1" Type="http://schemas.openxmlformats.org/officeDocument/2006/relationships/package" Target="../embeddings/Microsoft_Excel_Worksheet1144.xlsx"/></Relationships>
</file>

<file path=ppt/charts/_rels/chart1146.xml.rels><?xml version='1.0' encoding='UTF-8' standalone='yes'?>
<Relationships xmlns="http://schemas.openxmlformats.org/package/2006/relationships"><Relationship Id="rId1"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1.xml.rels><?xml version='1.0' encoding='UTF-8' standalone='yes'?>
<Relationships xmlns="http://schemas.openxmlformats.org/package/2006/relationships"><Relationship Id="rId1" Type="http://schemas.openxmlformats.org/officeDocument/2006/relationships/package" Target="../embeddings/Microsoft_Excel_Worksheet1150.xlsx"/></Relationships>
</file>

<file path=ppt/charts/_rels/chart1152.xml.rels><?xml version='1.0' encoding='UTF-8' standalone='yes'?>
<Relationships xmlns="http://schemas.openxmlformats.org/package/2006/relationships"><Relationship Id="rId1" Type="http://schemas.openxmlformats.org/officeDocument/2006/relationships/package" Target="../embeddings/Microsoft_Excel_Worksheet1151.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55.xml.rels><?xml version='1.0' encoding='UTF-8' standalone='yes'?>
<Relationships xmlns="http://schemas.openxmlformats.org/package/2006/relationships"><Relationship Id="rId1" Type="http://schemas.openxmlformats.org/officeDocument/2006/relationships/package" Target="../embeddings/Microsoft_Excel_Worksheet115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31322091813889</c:v>
                </c:pt>
                <c:pt idx="3">
                  <c:v>0.0017841793172491292</c:v>
                </c:pt>
                <c:pt idx="5">
                  <c:v>0.001665775553808340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020824840383864</c:v>
                </c:pt>
                <c:pt idx="3">
                  <c:v>0.0025301188948638445</c:v>
                </c:pt>
                <c:pt idx="4">
                  <c:v>0.00234392865013200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467159861545471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83329513289826</c:v>
                </c:pt>
                <c:pt idx="3">
                  <c:v>0.0010751236804549876</c:v>
                </c:pt>
                <c:pt idx="4">
                  <c:v>0.001422325016143534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3261481785867727</c:v>
                </c:pt>
                <c:pt idx="1">
                  <c:v>0.11551032311749045</c:v>
                </c:pt>
                <c:pt idx="2">
                  <c:v>0.06569491407346192</c:v>
                </c:pt>
                <c:pt idx="3">
                  <c:v>0.2675428262952296</c:v>
                </c:pt>
                <c:pt idx="4">
                  <c:v>0.15978017262654848</c:v>
                </c:pt>
                <c:pt idx="5">
                  <c:v>0.06239172395267323</c:v>
                </c:pt>
                <c:pt idx="6">
                  <c:v>0.17758546766440794</c:v>
                </c:pt>
                <c:pt idx="7">
                  <c:v>0.101676248216621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688018258503002</c:v>
                </c:pt>
                <c:pt idx="2">
                  <c:v>0.009455114098644654</c:v>
                </c:pt>
                <c:pt idx="5">
                  <c:v>0.00128592131685925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888472474389329</c:v>
                </c:pt>
                <c:pt idx="5">
                  <c:v>0.0019985362928608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8997029394762095</c:v>
                </c:pt>
                <c:pt idx="2">
                  <c:v>0.05498364550965095</c:v>
                </c:pt>
                <c:pt idx="3">
                  <c:v>0.020279902063345786</c:v>
                </c:pt>
                <c:pt idx="4">
                  <c:v>0.029645646396596295</c:v>
                </c:pt>
                <c:pt idx="5">
                  <c:v>0.01058159292554990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93140558906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52582573016724</c:v>
                </c:pt>
                <c:pt idx="2">
                  <c:v>0.04171980623099797</c:v>
                </c:pt>
                <c:pt idx="3">
                  <c:v>0.036219346309393004</c:v>
                </c:pt>
                <c:pt idx="4">
                  <c:v>0.15212272988997588</c:v>
                </c:pt>
                <c:pt idx="5">
                  <c:v>0.05358284855375236</c:v>
                </c:pt>
                <c:pt idx="6">
                  <c:v>0.08637481558599412</c:v>
                </c:pt>
                <c:pt idx="7">
                  <c:v>0.0071891150081825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989335673239924</c:v>
                </c:pt>
                <c:pt idx="4">
                  <c:v>0.046282176756650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74576541337735</c:v>
                </c:pt>
                <c:pt idx="3">
                  <c:v>0.05058996393847339</c:v>
                </c:pt>
                <c:pt idx="4">
                  <c:v>0.12601644008827545</c:v>
                </c:pt>
                <c:pt idx="5">
                  <c:v>0.011292701863049386</c:v>
                </c:pt>
                <c:pt idx="6">
                  <c:v>0.0008480748782665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89609020726019</c:v>
                </c:pt>
                <c:pt idx="4">
                  <c:v>0.0059313445853834785</c:v>
                </c:pt>
                <c:pt idx="5">
                  <c:v>0.00436331052206929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5671138277131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115332297577794</c:v>
                </c:pt>
                <c:pt idx="4">
                  <c:v>0.010814298637406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1848336289215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52013182143474</c:v>
                </c:pt>
                <c:pt idx="4">
                  <c:v>0.07526838177676101</c:v>
                </c:pt>
                <c:pt idx="5">
                  <c:v>0.05909994585787642</c:v>
                </c:pt>
                <c:pt idx="6">
                  <c:v>0.07640604128472299</c:v>
                </c:pt>
                <c:pt idx="7">
                  <c:v>0.00137921546736644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40771169362354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676911684300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84936976888713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172939783897666</c:v>
                </c:pt>
                <c:pt idx="3">
                  <c:v>0.0014773132416535078</c:v>
                </c:pt>
                <c:pt idx="4">
                  <c:v>0.022049122813626237</c:v>
                </c:pt>
                <c:pt idx="5">
                  <c:v>0.0037571055160849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479898628114399</c:v>
                </c:pt>
                <c:pt idx="2">
                  <c:v>0.001900036170611335</c:v>
                </c:pt>
                <c:pt idx="3">
                  <c:v>0.005933502736417794</c:v>
                </c:pt>
                <c:pt idx="5">
                  <c:v>0.003580843435245933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423616638920692</c:v>
                </c:pt>
                <c:pt idx="4">
                  <c:v>0.00180107513591054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42682992961523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6808868449546979</c:v>
                </c:pt>
                <c:pt idx="5">
                  <c:v>0.00135069044763208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35324480763926</c:v>
                </c:pt>
                <c:pt idx="2">
                  <c:v>0.015904222071279773</c:v>
                </c:pt>
                <c:pt idx="3">
                  <c:v>0.06071186133109186</c:v>
                </c:pt>
                <c:pt idx="4">
                  <c:v>0.04257676073900146</c:v>
                </c:pt>
                <c:pt idx="5">
                  <c:v>0.012101196950313493</c:v>
                </c:pt>
                <c:pt idx="6">
                  <c:v>0.06874249539814392</c:v>
                </c:pt>
                <c:pt idx="7">
                  <c:v>0.024360477952654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7975381828754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39628699823455134</c:v>
                </c:pt>
                <c:pt idx="4">
                  <c:v>0.015839912981702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716919170773789</c:v>
                </c:pt>
                <c:pt idx="2">
                  <c:v>0.003572613421501572</c:v>
                </c:pt>
                <c:pt idx="3">
                  <c:v>0.12218844690941529</c:v>
                </c:pt>
                <c:pt idx="4">
                  <c:v>0.04236641034083054</c:v>
                </c:pt>
                <c:pt idx="5">
                  <c:v>0.020132079867063155</c:v>
                </c:pt>
                <c:pt idx="6">
                  <c:v>0.008512359623710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709687698953317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174596887447</c:v>
                </c:pt>
                <c:pt idx="3">
                  <c:v>0.007675802994699243</c:v>
                </c:pt>
                <c:pt idx="4">
                  <c:v>0.006371727145433102</c:v>
                </c:pt>
                <c:pt idx="5">
                  <c:v>0.00450878172481893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5081027880064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08996966117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1841128025335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39713970393122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443693610958939</c:v>
                </c:pt>
                <c:pt idx="4">
                  <c:v>0.0007571534971406242</c:v>
                </c:pt>
                <c:pt idx="5">
                  <c:v>0.00254470962807237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076338599561821</c:v>
                </c:pt>
                <c:pt idx="1">
                  <c:v>0.0008732385346798901</c:v>
                </c:pt>
                <c:pt idx="3">
                  <c:v>0.019805424786509852</c:v>
                </c:pt>
                <c:pt idx="4">
                  <c:v>0.02629043999623075</c:v>
                </c:pt>
                <c:pt idx="5">
                  <c:v>0.006602774658917341</c:v>
                </c:pt>
                <c:pt idx="6">
                  <c:v>0.06088104140252055</c:v>
                </c:pt>
                <c:pt idx="7">
                  <c:v>0.0426924198724128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9833911606452528</c:v>
                </c:pt>
                <c:pt idx="1">
                  <c:v>0.09206397015082488</c:v>
                </c:pt>
                <c:pt idx="2">
                  <c:v>0.03875317524807164</c:v>
                </c:pt>
                <c:pt idx="3">
                  <c:v>0.17530253037154014</c:v>
                </c:pt>
                <c:pt idx="4">
                  <c:v>0.12462071537540466</c:v>
                </c:pt>
                <c:pt idx="5">
                  <c:v>0.05312455760596804</c:v>
                </c:pt>
                <c:pt idx="6">
                  <c:v>0.36037368364421235</c:v>
                </c:pt>
                <c:pt idx="7">
                  <c:v>0.10676810039806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5329263819391094</c:v>
                </c:pt>
                <c:pt idx="7">
                  <c:v>0.00199575814699457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48628470823932</c:v>
                </c:pt>
                <c:pt idx="5">
                  <c:v>0.0010951771757369416</c:v>
                </c:pt>
                <c:pt idx="6">
                  <c:v>0.010930683418692886</c:v>
                </c:pt>
                <c:pt idx="7">
                  <c:v>0.00095732174448201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7807522364339838</c:v>
                </c:pt>
                <c:pt idx="6">
                  <c:v>0.00077824122738268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01364017971865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747127105535012</c:v>
                </c:pt>
                <c:pt idx="3">
                  <c:v>0.0012830276672645296</c:v>
                </c:pt>
                <c:pt idx="4">
                  <c:v>0.0031596628634188587</c:v>
                </c:pt>
                <c:pt idx="5">
                  <c:v>0.002938635048761079</c:v>
                </c:pt>
                <c:pt idx="6">
                  <c:v>0.0014982291134524176</c:v>
                </c:pt>
                <c:pt idx="7">
                  <c:v>0.0120156626243041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0955921280444254</c:v>
                </c:pt>
                <c:pt idx="5">
                  <c:v>0.00119504317565069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17241610620345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6476015247063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0888526515460055</c:v>
                </c:pt>
                <c:pt idx="2">
                  <c:v>0.018411934016194547</c:v>
                </c:pt>
                <c:pt idx="3">
                  <c:v>0.004574204249473647</c:v>
                </c:pt>
                <c:pt idx="4">
                  <c:v>0.004784875292609445</c:v>
                </c:pt>
                <c:pt idx="5">
                  <c:v>0.002320182706786531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886398500695783</c:v>
                </c:pt>
                <c:pt idx="2">
                  <c:v>0.016536953761794405</c:v>
                </c:pt>
                <c:pt idx="3">
                  <c:v>0.0007657762304275188</c:v>
                </c:pt>
                <c:pt idx="4">
                  <c:v>0.0025389301090565546</c:v>
                </c:pt>
                <c:pt idx="5">
                  <c:v>0.0052540305931498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967604743324696</c:v>
                </c:pt>
                <c:pt idx="4">
                  <c:v>0.009831634774433188</c:v>
                </c:pt>
                <c:pt idx="5">
                  <c:v>0.00052486842794755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7266843158295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07698498513024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605402220154242</c:v>
                </c:pt>
                <c:pt idx="1">
                  <c:v>0.09671313639448578</c:v>
                </c:pt>
                <c:pt idx="2">
                  <c:v>0.04045589464231229</c:v>
                </c:pt>
                <c:pt idx="3">
                  <c:v>0.18229049009820741</c:v>
                </c:pt>
                <c:pt idx="4">
                  <c:v>0.11113445934101687</c:v>
                </c:pt>
                <c:pt idx="5">
                  <c:v>0.051811670014563986</c:v>
                </c:pt>
                <c:pt idx="6">
                  <c:v>0.35156405573264077</c:v>
                </c:pt>
                <c:pt idx="7">
                  <c:v>0.113959595159613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264931572243390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605402220154242</c:v>
                </c:pt>
                <c:pt idx="1">
                  <c:v>0.09671313639448578</c:v>
                </c:pt>
                <c:pt idx="2">
                  <c:v>0.04045589464231229</c:v>
                </c:pt>
                <c:pt idx="3">
                  <c:v>0.18229049009820741</c:v>
                </c:pt>
                <c:pt idx="4">
                  <c:v>0.11113445934101687</c:v>
                </c:pt>
                <c:pt idx="5">
                  <c:v>0.051811670014563986</c:v>
                </c:pt>
                <c:pt idx="6">
                  <c:v>0.35156405573264077</c:v>
                </c:pt>
                <c:pt idx="7">
                  <c:v>0.113959595159613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637340142787428</c:v>
                </c:pt>
                <c:pt idx="1">
                  <c:v>0.08178379124933727</c:v>
                </c:pt>
                <c:pt idx="2">
                  <c:v>0.020481447272063334</c:v>
                </c:pt>
                <c:pt idx="3">
                  <c:v>0.11501586541818654</c:v>
                </c:pt>
                <c:pt idx="4">
                  <c:v>0.07230199940364156</c:v>
                </c:pt>
                <c:pt idx="5">
                  <c:v>0.043289684745348084</c:v>
                </c:pt>
                <c:pt idx="6">
                  <c:v>0.4893803967651918</c:v>
                </c:pt>
                <c:pt idx="7">
                  <c:v>0.123817711044728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1620219303093545</c:v>
                </c:pt>
                <c:pt idx="2">
                  <c:v>0.008318319211168853</c:v>
                </c:pt>
                <c:pt idx="3">
                  <c:v>0.012431084471381262</c:v>
                </c:pt>
                <c:pt idx="4">
                  <c:v>0.007847599972882272</c:v>
                </c:pt>
                <c:pt idx="5">
                  <c:v>0.009910882022491982</c:v>
                </c:pt>
                <c:pt idx="6">
                  <c:v>0.0005731436766533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252060661466229</c:v>
                </c:pt>
                <c:pt idx="2">
                  <c:v>0.04993714287014782</c:v>
                </c:pt>
                <c:pt idx="3">
                  <c:v>0.11115435261001685</c:v>
                </c:pt>
                <c:pt idx="4">
                  <c:v>0.44456176938249176</c:v>
                </c:pt>
                <c:pt idx="5">
                  <c:v>0.13567675574807833</c:v>
                </c:pt>
                <c:pt idx="6">
                  <c:v>0.1750366434426072</c:v>
                </c:pt>
                <c:pt idx="7">
                  <c:v>0.01464956846004308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3261481785867727</c:v>
                </c:pt>
                <c:pt idx="1">
                  <c:v>0.11551032311749045</c:v>
                </c:pt>
                <c:pt idx="2">
                  <c:v>0.06569491407346192</c:v>
                </c:pt>
                <c:pt idx="3">
                  <c:v>0.2675428262952296</c:v>
                </c:pt>
                <c:pt idx="4">
                  <c:v>0.15978017262654848</c:v>
                </c:pt>
                <c:pt idx="5">
                  <c:v>0.06239172395267323</c:v>
                </c:pt>
                <c:pt idx="6">
                  <c:v>0.17758546766440794</c:v>
                </c:pt>
                <c:pt idx="7">
                  <c:v>0.101676248216621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709687698953317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540867350420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741051332760194</c:v>
                </c:pt>
                <c:pt idx="2">
                  <c:v>0.008396656287195253</c:v>
                </c:pt>
                <c:pt idx="3">
                  <c:v>0.03402907105277163</c:v>
                </c:pt>
                <c:pt idx="4">
                  <c:v>0.02974150479033008</c:v>
                </c:pt>
                <c:pt idx="5">
                  <c:v>0.008753189629188458</c:v>
                </c:pt>
                <c:pt idx="6">
                  <c:v>0.04216333541496148</c:v>
                </c:pt>
                <c:pt idx="7">
                  <c:v>0.01451172919547036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0845994435199338</c:v>
                </c:pt>
                <c:pt idx="4">
                  <c:v>0.00422538486627569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04678831725519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2145094930675225</c:v>
                </c:pt>
                <c:pt idx="4">
                  <c:v>0.009606618067397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956483850459307</c:v>
                </c:pt>
                <c:pt idx="2">
                  <c:v>0.002174091561106194</c:v>
                </c:pt>
                <c:pt idx="3">
                  <c:v>0.06805537518942735</c:v>
                </c:pt>
                <c:pt idx="4">
                  <c:v>0.03357957421998861</c:v>
                </c:pt>
                <c:pt idx="5">
                  <c:v>0.010537707226302637</c:v>
                </c:pt>
                <c:pt idx="6">
                  <c:v>0.00970399908709912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7304441088144627</c:v>
                </c:pt>
                <c:pt idx="2">
                  <c:v>0.0021039451634620155</c:v>
                </c:pt>
                <c:pt idx="3">
                  <c:v>0.012023398861040051</c:v>
                </c:pt>
                <c:pt idx="4">
                  <c:v>0.0029485297405800804</c:v>
                </c:pt>
                <c:pt idx="5">
                  <c:v>0.006345471311132194</c:v>
                </c:pt>
                <c:pt idx="6">
                  <c:v>0.000522664952251695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784674348842123</c:v>
                </c:pt>
                <c:pt idx="3">
                  <c:v>0.00567244360286276</c:v>
                </c:pt>
                <c:pt idx="4">
                  <c:v>0.004362442460484648</c:v>
                </c:pt>
                <c:pt idx="5">
                  <c:v>0.002143817610688059</c:v>
                </c:pt>
                <c:pt idx="7">
                  <c:v>0.00050311949593458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85340093679934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3946631512145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57613743262517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575306309467875</c:v>
                </c:pt>
                <c:pt idx="5">
                  <c:v>0.006110501322169338</c:v>
                </c:pt>
                <c:pt idx="6">
                  <c:v>0.000767382115441679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117609307633109</c:v>
                </c:pt>
                <c:pt idx="1">
                  <c:v>0.0012473304312190692</c:v>
                </c:pt>
                <c:pt idx="3">
                  <c:v>0.022525572917754887</c:v>
                </c:pt>
                <c:pt idx="4">
                  <c:v>0.027595036417759882</c:v>
                </c:pt>
                <c:pt idx="5">
                  <c:v>0.009169423557449522</c:v>
                </c:pt>
                <c:pt idx="6">
                  <c:v>0.1706920460468923</c:v>
                </c:pt>
                <c:pt idx="7">
                  <c:v>0.0483206777047770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9833911606452528</c:v>
                </c:pt>
                <c:pt idx="1">
                  <c:v>0.09206397015082488</c:v>
                </c:pt>
                <c:pt idx="2">
                  <c:v>0.03875317524807164</c:v>
                </c:pt>
                <c:pt idx="3">
                  <c:v>0.17530253037154014</c:v>
                </c:pt>
                <c:pt idx="4">
                  <c:v>0.12462071537540466</c:v>
                </c:pt>
                <c:pt idx="5">
                  <c:v>0.05312455760596804</c:v>
                </c:pt>
                <c:pt idx="6">
                  <c:v>0.36037368364421235</c:v>
                </c:pt>
                <c:pt idx="7">
                  <c:v>0.10676810039806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64095744754277</c:v>
                </c:pt>
                <c:pt idx="7">
                  <c:v>0.0092961595641784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46482512819814</c:v>
                </c:pt>
                <c:pt idx="5">
                  <c:v>0.003728171874261882</c:v>
                </c:pt>
                <c:pt idx="6">
                  <c:v>0.04291062211435607</c:v>
                </c:pt>
                <c:pt idx="7">
                  <c:v>0.003357112895132057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4681474547342714</c:v>
                </c:pt>
                <c:pt idx="6">
                  <c:v>0.007081716511332668</c:v>
                </c:pt>
                <c:pt idx="7">
                  <c:v>0.001782869918741312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437805979091613</c:v>
                </c:pt>
                <c:pt idx="3">
                  <c:v>0.002879194710825656</c:v>
                </c:pt>
                <c:pt idx="4">
                  <c:v>0.007611119142748439</c:v>
                </c:pt>
                <c:pt idx="5">
                  <c:v>0.004424045530833966</c:v>
                </c:pt>
                <c:pt idx="6">
                  <c:v>0.0037361432336561595</c:v>
                </c:pt>
                <c:pt idx="7">
                  <c:v>0.00657108856119226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819030904163431</c:v>
                </c:pt>
                <c:pt idx="3">
                  <c:v>0.0013492355971917473</c:v>
                </c:pt>
                <c:pt idx="5">
                  <c:v>0.00142415654518175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68519546141138</c:v>
                </c:pt>
                <c:pt idx="3">
                  <c:v>0.0014402900014489127</c:v>
                </c:pt>
                <c:pt idx="4">
                  <c:v>0.00134080108807378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89663820442640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414527824553148</c:v>
                </c:pt>
                <c:pt idx="2">
                  <c:v>0.011547955617786152</c:v>
                </c:pt>
                <c:pt idx="3">
                  <c:v>0.0024065638672402523</c:v>
                </c:pt>
                <c:pt idx="4">
                  <c:v>0.0029619806453853336</c:v>
                </c:pt>
                <c:pt idx="5">
                  <c:v>0.00108679354246440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318423438673136</c:v>
                </c:pt>
                <c:pt idx="2">
                  <c:v>0.011811776362134482</c:v>
                </c:pt>
                <c:pt idx="4">
                  <c:v>0.0010378938327253494</c:v>
                </c:pt>
                <c:pt idx="5">
                  <c:v>0.002805866420781994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318423438673136</c:v>
                </c:pt>
                <c:pt idx="2">
                  <c:v>0.005766862322800227</c:v>
                </c:pt>
                <c:pt idx="5">
                  <c:v>0.002805820448158946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8424718773488703</c:v>
                </c:pt>
                <c:pt idx="4">
                  <c:v>0.004225892765946281</c:v>
                </c:pt>
                <c:pt idx="5">
                  <c:v>0.00122818258918427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0844645136267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9084141871889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4173935702335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998385814752306</c:v>
                </c:pt>
                <c:pt idx="2">
                  <c:v>0.008427652992016674</c:v>
                </c:pt>
                <c:pt idx="3">
                  <c:v>0.03544095773700482</c:v>
                </c:pt>
                <c:pt idx="4">
                  <c:v>0.02328382334463693</c:v>
                </c:pt>
                <c:pt idx="5">
                  <c:v>0.007656179566721787</c:v>
                </c:pt>
                <c:pt idx="6">
                  <c:v>0.042010342223935605</c:v>
                </c:pt>
                <c:pt idx="7">
                  <c:v>0.0155325567110090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12322276661984</c:v>
                </c:pt>
                <c:pt idx="4">
                  <c:v>0.00461697776614783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637340142787428</c:v>
                </c:pt>
                <c:pt idx="1">
                  <c:v>0.08178379124933727</c:v>
                </c:pt>
                <c:pt idx="2">
                  <c:v>0.020481447272063334</c:v>
                </c:pt>
                <c:pt idx="3">
                  <c:v>0.11501586541818654</c:v>
                </c:pt>
                <c:pt idx="4">
                  <c:v>0.07230199940364156</c:v>
                </c:pt>
                <c:pt idx="5">
                  <c:v>0.043289684745348084</c:v>
                </c:pt>
                <c:pt idx="6">
                  <c:v>0.4893803967651918</c:v>
                </c:pt>
                <c:pt idx="7">
                  <c:v>0.123817711044728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4381611506655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3197675271413164</c:v>
                </c:pt>
                <c:pt idx="4">
                  <c:v>0.0094035746203010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251217916903458</c:v>
                </c:pt>
                <c:pt idx="2">
                  <c:v>0.0023625351851152146</c:v>
                </c:pt>
                <c:pt idx="3">
                  <c:v>0.06951840260902178</c:v>
                </c:pt>
                <c:pt idx="4">
                  <c:v>0.03082124605643505</c:v>
                </c:pt>
                <c:pt idx="5">
                  <c:v>0.011418460967233058</c:v>
                </c:pt>
                <c:pt idx="6">
                  <c:v>0.01049373814870290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8530259546523025</c:v>
                </c:pt>
                <c:pt idx="2">
                  <c:v>0.0022856039489464477</c:v>
                </c:pt>
                <c:pt idx="3">
                  <c:v>0.012291221443111322</c:v>
                </c:pt>
                <c:pt idx="4">
                  <c:v>0.003230622206734439</c:v>
                </c:pt>
                <c:pt idx="5">
                  <c:v>0.0068761136473946835</c:v>
                </c:pt>
                <c:pt idx="6">
                  <c:v>0.0005731436766533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091121772647884</c:v>
                </c:pt>
                <c:pt idx="3">
                  <c:v>0.006100504485951015</c:v>
                </c:pt>
                <c:pt idx="4">
                  <c:v>0.004050419728355141</c:v>
                </c:pt>
                <c:pt idx="5">
                  <c:v>0.0023199216283014933</c:v>
                </c:pt>
                <c:pt idx="7">
                  <c:v>0.000543619063665613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72609833140811</c:v>
                </c:pt>
                <c:pt idx="2">
                  <c:v>0.006729009088670806</c:v>
                </c:pt>
                <c:pt idx="3">
                  <c:v>0.004351862501788534</c:v>
                </c:pt>
                <c:pt idx="4">
                  <c:v>0.002629503640595731</c:v>
                </c:pt>
                <c:pt idx="5">
                  <c:v>0.00215557820169110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082622761110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0350461020761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968038809518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282968740796355</c:v>
                </c:pt>
                <c:pt idx="5">
                  <c:v>0.0064097039314591035</c:v>
                </c:pt>
                <c:pt idx="6">
                  <c:v>0.00082578697725981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577451195635581</c:v>
                </c:pt>
                <c:pt idx="1">
                  <c:v>0.0013679224216805621</c:v>
                </c:pt>
                <c:pt idx="3">
                  <c:v>0.023485472463378603</c:v>
                </c:pt>
                <c:pt idx="4">
                  <c:v>0.023240773444997576</c:v>
                </c:pt>
                <c:pt idx="5">
                  <c:v>0.0068931945782886505</c:v>
                </c:pt>
                <c:pt idx="6">
                  <c:v>0.16391197916160544</c:v>
                </c:pt>
                <c:pt idx="7">
                  <c:v>0.051677557754093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7950270662006521</c:v>
                </c:pt>
                <c:pt idx="7">
                  <c:v>0.0097820619273432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05724463005154</c:v>
                </c:pt>
                <c:pt idx="5">
                  <c:v>0.0038208854334377557</c:v>
                </c:pt>
                <c:pt idx="6">
                  <c:v>0.04266757535824442</c:v>
                </c:pt>
                <c:pt idx="7">
                  <c:v>0.00333087780402501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894250048941868</c:v>
                </c:pt>
                <c:pt idx="6">
                  <c:v>0.00764925949669734</c:v>
                </c:pt>
                <c:pt idx="7">
                  <c:v>0.00195161556446112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4402976734082</c:v>
                </c:pt>
                <c:pt idx="3">
                  <c:v>0.0031015730785352554</c:v>
                </c:pt>
                <c:pt idx="4">
                  <c:v>0.007687983246293506</c:v>
                </c:pt>
                <c:pt idx="5">
                  <c:v>0.004642038111971745</c:v>
                </c:pt>
                <c:pt idx="6">
                  <c:v>0.00378706095288808</c:v>
                </c:pt>
                <c:pt idx="7">
                  <c:v>0.0071037842998441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0646652306208584</c:v>
                </c:pt>
                <c:pt idx="3">
                  <c:v>0.0014788444153208808</c:v>
                </c:pt>
                <c:pt idx="5">
                  <c:v>0.001456616945506279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993837168487204</c:v>
                </c:pt>
                <c:pt idx="3">
                  <c:v>0.0015626769483132377</c:v>
                </c:pt>
                <c:pt idx="4">
                  <c:v>0.00144961373702089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452120240396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3615153964166766</c:v>
                </c:pt>
                <c:pt idx="2">
                  <c:v>0.01196596501072172</c:v>
                </c:pt>
                <c:pt idx="3">
                  <c:v>0.002618628195473478</c:v>
                </c:pt>
                <c:pt idx="4">
                  <c:v>0.002903035483741325</c:v>
                </c:pt>
                <c:pt idx="5">
                  <c:v>0.001024092588928868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66736989950685</c:v>
                </c:pt>
                <c:pt idx="2">
                  <c:v>0.01256692413451898</c:v>
                </c:pt>
                <c:pt idx="4">
                  <c:v>0.001129643033426853</c:v>
                </c:pt>
                <c:pt idx="5">
                  <c:v>0.00303370017996853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66736989950685</c:v>
                </c:pt>
                <c:pt idx="2">
                  <c:v>0.0060327152622224045</c:v>
                </c:pt>
                <c:pt idx="5">
                  <c:v>0.003033649760514809</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9773062891600825</c:v>
                </c:pt>
                <c:pt idx="4">
                  <c:v>0.0045892210523037</c:v>
                </c:pt>
                <c:pt idx="5">
                  <c:v>0.0013469127962244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35786776670843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84688589620171</c:v>
                </c:pt>
                <c:pt idx="2">
                  <c:v>0.007870807486262243</c:v>
                </c:pt>
                <c:pt idx="3">
                  <c:v>0.012150934253432541</c:v>
                </c:pt>
                <c:pt idx="4">
                  <c:v>0.007173914606855771</c:v>
                </c:pt>
                <c:pt idx="5">
                  <c:v>0.009152311715731214</c:v>
                </c:pt>
                <c:pt idx="6">
                  <c:v>0.00052266495225169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255267586115094</c:v>
                </c:pt>
                <c:pt idx="2">
                  <c:v>0.0025280317229527827</c:v>
                </c:pt>
                <c:pt idx="3">
                  <c:v>0.015453126299947986</c:v>
                </c:pt>
                <c:pt idx="4">
                  <c:v>0.008089454070185968</c:v>
                </c:pt>
                <c:pt idx="5">
                  <c:v>0.0039062392869679548</c:v>
                </c:pt>
                <c:pt idx="6">
                  <c:v>0.020753642068378986</c:v>
                </c:pt>
                <c:pt idx="7">
                  <c:v>0.008553699432550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20310510487098</c:v>
                </c:pt>
                <c:pt idx="4">
                  <c:v>0.000708255169850350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57528714003306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265414870130081</c:v>
                </c:pt>
                <c:pt idx="4">
                  <c:v>0.0043181765849642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3979330682751851</c:v>
                </c:pt>
                <c:pt idx="2">
                  <c:v>0.0014034525425029737</c:v>
                </c:pt>
                <c:pt idx="3">
                  <c:v>0.027886771650299097</c:v>
                </c:pt>
                <c:pt idx="4">
                  <c:v>0.021207124369513844</c:v>
                </c:pt>
                <c:pt idx="5">
                  <c:v>0.004549661919567125</c:v>
                </c:pt>
                <c:pt idx="6">
                  <c:v>0.0120779305250004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834974968034126</c:v>
                </c:pt>
                <c:pt idx="2">
                  <c:v>0.0014033963272374133</c:v>
                </c:pt>
                <c:pt idx="3">
                  <c:v>0.004102223480188536</c:v>
                </c:pt>
                <c:pt idx="4">
                  <c:v>0.0019212484707453808</c:v>
                </c:pt>
                <c:pt idx="5">
                  <c:v>0.000867743163441018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486776008375548</c:v>
                </c:pt>
                <c:pt idx="4">
                  <c:v>0.002223831221639074</c:v>
                </c:pt>
                <c:pt idx="5">
                  <c:v>0.000595780435272937</c:v>
                </c:pt>
                <c:pt idx="7">
                  <c:v>0.000855399348163143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7915796466367601</c:v>
                </c:pt>
                <c:pt idx="7">
                  <c:v>0.001560517514006283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653977895300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123546382059598</c:v>
                </c:pt>
                <c:pt idx="5">
                  <c:v>0.009473730960992239</c:v>
                </c:pt>
                <c:pt idx="6">
                  <c:v>0.00109091392393683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52576587490414</c:v>
                </c:pt>
                <c:pt idx="1">
                  <c:v>0.0017610955034150927</c:v>
                </c:pt>
                <c:pt idx="3">
                  <c:v>0.02643507007388525</c:v>
                </c:pt>
                <c:pt idx="4">
                  <c:v>0.020842234924540345</c:v>
                </c:pt>
                <c:pt idx="5">
                  <c:v>0.007135193691158124</c:v>
                </c:pt>
                <c:pt idx="6">
                  <c:v>0.24557820138360317</c:v>
                </c:pt>
                <c:pt idx="7">
                  <c:v>0.058868989812388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243015685198771</c:v>
                </c:pt>
                <c:pt idx="7">
                  <c:v>0.015949061696972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1984860685089886</c:v>
                </c:pt>
                <c:pt idx="3">
                  <c:v>0.0005946671808258996</c:v>
                </c:pt>
                <c:pt idx="5">
                  <c:v>0.005980449014830738</c:v>
                </c:pt>
                <c:pt idx="6">
                  <c:v>0.06780909568339619</c:v>
                </c:pt>
                <c:pt idx="7">
                  <c:v>0.0052114381156632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309523024157426</c:v>
                </c:pt>
                <c:pt idx="6">
                  <c:v>0.013089433899956496</c:v>
                </c:pt>
                <c:pt idx="7">
                  <c:v>0.003362344100390170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3441363198934</c:v>
                </c:pt>
                <c:pt idx="3">
                  <c:v>0.004543405208557492</c:v>
                </c:pt>
                <c:pt idx="4">
                  <c:v>0.011265338861325375</c:v>
                </c:pt>
                <c:pt idx="5">
                  <c:v>0.005995736203756672</c:v>
                </c:pt>
                <c:pt idx="6">
                  <c:v>0.005601573980541588</c:v>
                </c:pt>
                <c:pt idx="7">
                  <c:v>0.00323804398020616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31322091813889</c:v>
                </c:pt>
                <c:pt idx="3">
                  <c:v>0.0017841793172491292</c:v>
                </c:pt>
                <c:pt idx="5">
                  <c:v>0.001665775553808340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020824840383864</c:v>
                </c:pt>
                <c:pt idx="3">
                  <c:v>0.0025301188948638445</c:v>
                </c:pt>
                <c:pt idx="4">
                  <c:v>0.00234392865013200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467159861545471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83329513289826</c:v>
                </c:pt>
                <c:pt idx="3">
                  <c:v>0.0010751236804549876</c:v>
                </c:pt>
                <c:pt idx="4">
                  <c:v>0.001422325016143534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252060661466229</c:v>
                </c:pt>
                <c:pt idx="2">
                  <c:v>0.04993714287014782</c:v>
                </c:pt>
                <c:pt idx="3">
                  <c:v>0.11115435261001685</c:v>
                </c:pt>
                <c:pt idx="4">
                  <c:v>0.44456176938249176</c:v>
                </c:pt>
                <c:pt idx="5">
                  <c:v>0.13567675574807833</c:v>
                </c:pt>
                <c:pt idx="6">
                  <c:v>0.1750366434426072</c:v>
                </c:pt>
                <c:pt idx="7">
                  <c:v>0.01464956846004308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688018258503002</c:v>
                </c:pt>
                <c:pt idx="2">
                  <c:v>0.009455114098644654</c:v>
                </c:pt>
                <c:pt idx="5">
                  <c:v>0.00128592131685925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688018258503002</c:v>
                </c:pt>
                <c:pt idx="2">
                  <c:v>0.005325612761433392</c:v>
                </c:pt>
                <c:pt idx="5">
                  <c:v>0.0012858309880564777</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888472474389329</c:v>
                </c:pt>
                <c:pt idx="5">
                  <c:v>0.0019985362928608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249634664269</c:v>
                </c:pt>
                <c:pt idx="2">
                  <c:v>0.001900036170611335</c:v>
                </c:pt>
                <c:pt idx="3">
                  <c:v>0.004714186641139271</c:v>
                </c:pt>
                <c:pt idx="4">
                  <c:v>0.0021517942985416626</c:v>
                </c:pt>
                <c:pt idx="5">
                  <c:v>0.007559806877658498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93140558906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52582573016724</c:v>
                </c:pt>
                <c:pt idx="2">
                  <c:v>0.04171980623099797</c:v>
                </c:pt>
                <c:pt idx="3">
                  <c:v>0.036219346309393004</c:v>
                </c:pt>
                <c:pt idx="4">
                  <c:v>0.15212272988997588</c:v>
                </c:pt>
                <c:pt idx="5">
                  <c:v>0.05358284855375236</c:v>
                </c:pt>
                <c:pt idx="6">
                  <c:v>0.08637481558599412</c:v>
                </c:pt>
                <c:pt idx="7">
                  <c:v>0.0071891150081825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3302842975520524</c:v>
                </c:pt>
                <c:pt idx="4">
                  <c:v>0.002151794298541662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989335673239924</c:v>
                </c:pt>
                <c:pt idx="4">
                  <c:v>0.046282176756650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74576541337735</c:v>
                </c:pt>
                <c:pt idx="3">
                  <c:v>0.05058996393847339</c:v>
                </c:pt>
                <c:pt idx="4">
                  <c:v>0.12601644008827545</c:v>
                </c:pt>
                <c:pt idx="5">
                  <c:v>0.011292701863049386</c:v>
                </c:pt>
                <c:pt idx="6">
                  <c:v>0.0008480748782665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466893060634077</c:v>
                </c:pt>
                <c:pt idx="3">
                  <c:v>0.004714186641139271</c:v>
                </c:pt>
                <c:pt idx="5">
                  <c:v>0.00397896344241256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89609020726019</c:v>
                </c:pt>
                <c:pt idx="4">
                  <c:v>0.0059313445853834785</c:v>
                </c:pt>
                <c:pt idx="5">
                  <c:v>0.00436331052206929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5671138277131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115332297577794</c:v>
                </c:pt>
                <c:pt idx="4">
                  <c:v>0.010814298637406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1848336289215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52013182143474</c:v>
                </c:pt>
                <c:pt idx="4">
                  <c:v>0.07526838177676101</c:v>
                </c:pt>
                <c:pt idx="5">
                  <c:v>0.05909994585787642</c:v>
                </c:pt>
                <c:pt idx="6">
                  <c:v>0.07640604128472299</c:v>
                </c:pt>
                <c:pt idx="7">
                  <c:v>0.00137921546736644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40771169362354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676911684300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84936976888713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172939783897666</c:v>
                </c:pt>
                <c:pt idx="3">
                  <c:v>0.0014773132416535078</c:v>
                </c:pt>
                <c:pt idx="4">
                  <c:v>0.022049122813626237</c:v>
                </c:pt>
                <c:pt idx="5">
                  <c:v>0.0037571055160849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479898628114399</c:v>
                </c:pt>
                <c:pt idx="2">
                  <c:v>0.001900036170611335</c:v>
                </c:pt>
                <c:pt idx="3">
                  <c:v>0.005933502736417794</c:v>
                </c:pt>
                <c:pt idx="5">
                  <c:v>0.003580843435245933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479898628114399</c:v>
                </c:pt>
                <c:pt idx="2">
                  <c:v>0.001900036170611335</c:v>
                </c:pt>
                <c:pt idx="5">
                  <c:v>0.0035808434352459337</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423616638920692</c:v>
                </c:pt>
                <c:pt idx="4">
                  <c:v>0.00180107513591054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42682992961523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6808868449546979</c:v>
                </c:pt>
                <c:pt idx="5">
                  <c:v>0.00135069044763208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35324480763926</c:v>
                </c:pt>
                <c:pt idx="2">
                  <c:v>0.015904222071279773</c:v>
                </c:pt>
                <c:pt idx="3">
                  <c:v>0.06071186133109186</c:v>
                </c:pt>
                <c:pt idx="4">
                  <c:v>0.04257676073900146</c:v>
                </c:pt>
                <c:pt idx="5">
                  <c:v>0.012101196950313493</c:v>
                </c:pt>
                <c:pt idx="6">
                  <c:v>0.06874249539814392</c:v>
                </c:pt>
                <c:pt idx="7">
                  <c:v>0.024360477952654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462775180649898</c:v>
                </c:pt>
                <c:pt idx="4">
                  <c:v>0.00957753672111166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7975381828754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39628699823455134</c:v>
                </c:pt>
                <c:pt idx="4">
                  <c:v>0.015839912981702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716919170773789</c:v>
                </c:pt>
                <c:pt idx="2">
                  <c:v>0.003572613421501572</c:v>
                </c:pt>
                <c:pt idx="3">
                  <c:v>0.12218844690941529</c:v>
                </c:pt>
                <c:pt idx="4">
                  <c:v>0.04236641034083054</c:v>
                </c:pt>
                <c:pt idx="5">
                  <c:v>0.020132079867063155</c:v>
                </c:pt>
                <c:pt idx="6">
                  <c:v>0.008512359623710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172002903145067</c:v>
                </c:pt>
                <c:pt idx="2">
                  <c:v>0.003398152138886728</c:v>
                </c:pt>
                <c:pt idx="3">
                  <c:v>0.022634088347270667</c:v>
                </c:pt>
                <c:pt idx="4">
                  <c:v>0.0048963149329820845</c:v>
                </c:pt>
                <c:pt idx="5">
                  <c:v>0.014500833897466167</c:v>
                </c:pt>
                <c:pt idx="6">
                  <c:v>0.001104501433965960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174596887447</c:v>
                </c:pt>
                <c:pt idx="3">
                  <c:v>0.007675802994699243</c:v>
                </c:pt>
                <c:pt idx="4">
                  <c:v>0.006371727145433102</c:v>
                </c:pt>
                <c:pt idx="5">
                  <c:v>0.00450878172481893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5081027880064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08996966117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1841128025335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39713970393122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443693610958939</c:v>
                </c:pt>
                <c:pt idx="4">
                  <c:v>0.0007571534971406242</c:v>
                </c:pt>
                <c:pt idx="5">
                  <c:v>0.00254470962807237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076338599561821</c:v>
                </c:pt>
                <c:pt idx="1">
                  <c:v>0.0008732385346798901</c:v>
                </c:pt>
                <c:pt idx="3">
                  <c:v>0.019805424786509852</c:v>
                </c:pt>
                <c:pt idx="4">
                  <c:v>0.02629043999623075</c:v>
                </c:pt>
                <c:pt idx="5">
                  <c:v>0.006602774658917341</c:v>
                </c:pt>
                <c:pt idx="6">
                  <c:v>0.06088104140252055</c:v>
                </c:pt>
                <c:pt idx="7">
                  <c:v>0.0426924198724128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3261481785867727</c:v>
                </c:pt>
                <c:pt idx="1">
                  <c:v>0.11551032311749045</c:v>
                </c:pt>
                <c:pt idx="2">
                  <c:v>0.06569491407346192</c:v>
                </c:pt>
                <c:pt idx="3">
                  <c:v>0.2675428262952296</c:v>
                </c:pt>
                <c:pt idx="4">
                  <c:v>0.15978017262654848</c:v>
                </c:pt>
                <c:pt idx="5">
                  <c:v>0.06239172395267323</c:v>
                </c:pt>
                <c:pt idx="6">
                  <c:v>0.17758546766440794</c:v>
                </c:pt>
                <c:pt idx="7">
                  <c:v>0.101676248216621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5329263819391094</c:v>
                </c:pt>
                <c:pt idx="7">
                  <c:v>0.00199575814699457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48628470823932</c:v>
                </c:pt>
                <c:pt idx="5">
                  <c:v>0.0010951771757369416</c:v>
                </c:pt>
                <c:pt idx="6">
                  <c:v>0.010930683418692886</c:v>
                </c:pt>
                <c:pt idx="7">
                  <c:v>0.00095732174448201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7807522364339838</c:v>
                </c:pt>
                <c:pt idx="6">
                  <c:v>0.00077824122738268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8166373971660187</c:v>
                </c:pt>
                <c:pt idx="2">
                  <c:v>0.010340432622765534</c:v>
                </c:pt>
                <c:pt idx="3">
                  <c:v>0.022635266276401587</c:v>
                </c:pt>
                <c:pt idx="4">
                  <c:v>0.014473851654093749</c:v>
                </c:pt>
                <c:pt idx="5">
                  <c:v>0.019754864490616</c:v>
                </c:pt>
                <c:pt idx="6">
                  <c:v>0.001104501433965960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747127105535012</c:v>
                </c:pt>
                <c:pt idx="3">
                  <c:v>0.0012830276672645296</c:v>
                </c:pt>
                <c:pt idx="4">
                  <c:v>0.0031596628634188587</c:v>
                </c:pt>
                <c:pt idx="5">
                  <c:v>0.002938635048761079</c:v>
                </c:pt>
                <c:pt idx="6">
                  <c:v>0.0014982291134524176</c:v>
                </c:pt>
                <c:pt idx="7">
                  <c:v>0.0120156626243041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0955921280444254</c:v>
                </c:pt>
                <c:pt idx="5">
                  <c:v>0.00119504317565069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17241610620345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6476015247063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0888526515460055</c:v>
                </c:pt>
                <c:pt idx="2">
                  <c:v>0.018411934016194547</c:v>
                </c:pt>
                <c:pt idx="3">
                  <c:v>0.004574204249473647</c:v>
                </c:pt>
                <c:pt idx="4">
                  <c:v>0.004784875292609445</c:v>
                </c:pt>
                <c:pt idx="5">
                  <c:v>0.002320182706786531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886398500695783</c:v>
                </c:pt>
                <c:pt idx="2">
                  <c:v>0.016536953761794405</c:v>
                </c:pt>
                <c:pt idx="3">
                  <c:v>0.0007657762304275188</c:v>
                </c:pt>
                <c:pt idx="4">
                  <c:v>0.0025389301090565546</c:v>
                </c:pt>
                <c:pt idx="5">
                  <c:v>0.0052540305931498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886398500695783</c:v>
                </c:pt>
                <c:pt idx="2">
                  <c:v>0.006942280483878806</c:v>
                </c:pt>
                <c:pt idx="5">
                  <c:v>0.005254030593149834</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967604743324696</c:v>
                </c:pt>
                <c:pt idx="4">
                  <c:v>0.009831634774433188</c:v>
                </c:pt>
                <c:pt idx="5">
                  <c:v>0.00052486842794755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7266843158295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07698498513024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540867350420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741051332760194</c:v>
                </c:pt>
                <c:pt idx="2">
                  <c:v>0.008396656287195253</c:v>
                </c:pt>
                <c:pt idx="3">
                  <c:v>0.03402907105277163</c:v>
                </c:pt>
                <c:pt idx="4">
                  <c:v>0.02974150479033008</c:v>
                </c:pt>
                <c:pt idx="5">
                  <c:v>0.008753189629188458</c:v>
                </c:pt>
                <c:pt idx="6">
                  <c:v>0.04216333541496148</c:v>
                </c:pt>
                <c:pt idx="7">
                  <c:v>0.01451172919547036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8389209455867136</c:v>
                </c:pt>
                <c:pt idx="3">
                  <c:v>0.00195543525087425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04678831725519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2145094930675225</c:v>
                </c:pt>
                <c:pt idx="4">
                  <c:v>0.009606618067397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956483850459307</c:v>
                </c:pt>
                <c:pt idx="2">
                  <c:v>0.002174091561106194</c:v>
                </c:pt>
                <c:pt idx="3">
                  <c:v>0.06805537518942735</c:v>
                </c:pt>
                <c:pt idx="4">
                  <c:v>0.03357957421998861</c:v>
                </c:pt>
                <c:pt idx="5">
                  <c:v>0.010537707226302637</c:v>
                </c:pt>
                <c:pt idx="6">
                  <c:v>0.00970399908709912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651837841792792</c:v>
                </c:pt>
                <c:pt idx="3">
                  <c:v>0.0014167224296855437</c:v>
                </c:pt>
                <c:pt idx="4">
                  <c:v>0.006914631458216388</c:v>
                </c:pt>
                <c:pt idx="5">
                  <c:v>0.00388951670741309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784674348842123</c:v>
                </c:pt>
                <c:pt idx="3">
                  <c:v>0.00567244360286276</c:v>
                </c:pt>
                <c:pt idx="4">
                  <c:v>0.004362442460484648</c:v>
                </c:pt>
                <c:pt idx="5">
                  <c:v>0.002143817610688059</c:v>
                </c:pt>
                <c:pt idx="7">
                  <c:v>0.00050311949593458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744770112036312</c:v>
                </c:pt>
                <c:pt idx="3">
                  <c:v>0.00544276608986071</c:v>
                </c:pt>
                <c:pt idx="4">
                  <c:v>0.004308286465998676</c:v>
                </c:pt>
                <c:pt idx="5">
                  <c:v>0.001423333439601007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85340093679934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3946631512145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67475543891753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57613743262517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575306309467875</c:v>
                </c:pt>
                <c:pt idx="5">
                  <c:v>0.006110501322169338</c:v>
                </c:pt>
                <c:pt idx="6">
                  <c:v>0.000767382115441679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117609307633109</c:v>
                </c:pt>
                <c:pt idx="1">
                  <c:v>0.0012473304312190692</c:v>
                </c:pt>
                <c:pt idx="3">
                  <c:v>0.022525572917754887</c:v>
                </c:pt>
                <c:pt idx="4">
                  <c:v>0.027595036417759882</c:v>
                </c:pt>
                <c:pt idx="5">
                  <c:v>0.009169423557449522</c:v>
                </c:pt>
                <c:pt idx="6">
                  <c:v>0.1706920460468923</c:v>
                </c:pt>
                <c:pt idx="7">
                  <c:v>0.0483206777047770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64095744754277</c:v>
                </c:pt>
                <c:pt idx="7">
                  <c:v>0.0092961595641784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46482512819814</c:v>
                </c:pt>
                <c:pt idx="5">
                  <c:v>0.003728171874261882</c:v>
                </c:pt>
                <c:pt idx="6">
                  <c:v>0.04291062211435607</c:v>
                </c:pt>
                <c:pt idx="7">
                  <c:v>0.003357112895132057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4681474547342714</c:v>
                </c:pt>
                <c:pt idx="6">
                  <c:v>0.007081716511332668</c:v>
                </c:pt>
                <c:pt idx="7">
                  <c:v>0.001782869918741312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437805979091613</c:v>
                </c:pt>
                <c:pt idx="3">
                  <c:v>0.002879194710825656</c:v>
                </c:pt>
                <c:pt idx="4">
                  <c:v>0.007611119142748439</c:v>
                </c:pt>
                <c:pt idx="5">
                  <c:v>0.004424045530833966</c:v>
                </c:pt>
                <c:pt idx="6">
                  <c:v>0.0037361432336561595</c:v>
                </c:pt>
                <c:pt idx="7">
                  <c:v>0.00657108856119226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819030904163431</c:v>
                </c:pt>
                <c:pt idx="3">
                  <c:v>0.0013492355971917473</c:v>
                </c:pt>
                <c:pt idx="5">
                  <c:v>0.00142415654518175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68519546141138</c:v>
                </c:pt>
                <c:pt idx="3">
                  <c:v>0.0014402900014489127</c:v>
                </c:pt>
                <c:pt idx="4">
                  <c:v>0.00134080108807378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89663820442640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414527824553148</c:v>
                </c:pt>
                <c:pt idx="2">
                  <c:v>0.011547955617786152</c:v>
                </c:pt>
                <c:pt idx="3">
                  <c:v>0.0024065638672402523</c:v>
                </c:pt>
                <c:pt idx="4">
                  <c:v>0.0029619806453853336</c:v>
                </c:pt>
                <c:pt idx="5">
                  <c:v>0.00108679354246440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547955617786152</c:v>
                </c:pt>
                <c:pt idx="3">
                  <c:v>0.00151139057555657</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318423438673136</c:v>
                </c:pt>
                <c:pt idx="2">
                  <c:v>0.011811776362134482</c:v>
                </c:pt>
                <c:pt idx="4">
                  <c:v>0.0010378938327253494</c:v>
                </c:pt>
                <c:pt idx="5">
                  <c:v>0.002805866420781994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044914039334255</c:v>
                </c:pt>
                <c:pt idx="4">
                  <c:v>0.0010378938327253494</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8424718773488703</c:v>
                </c:pt>
                <c:pt idx="4">
                  <c:v>0.004225892765946281</c:v>
                </c:pt>
                <c:pt idx="5">
                  <c:v>0.00122818258918427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395071445083897</c:v>
                </c:pt>
                <c:pt idx="4">
                  <c:v>0.0041989831312084485</c:v>
                </c:pt>
                <c:pt idx="5">
                  <c:v>0.00117923886310400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0844645136267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9084141871889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4173935702335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998385814752306</c:v>
                </c:pt>
                <c:pt idx="2">
                  <c:v>0.008427652992016674</c:v>
                </c:pt>
                <c:pt idx="3">
                  <c:v>0.03544095773700482</c:v>
                </c:pt>
                <c:pt idx="4">
                  <c:v>0.02328382334463693</c:v>
                </c:pt>
                <c:pt idx="5">
                  <c:v>0.007656179566721787</c:v>
                </c:pt>
                <c:pt idx="6">
                  <c:v>0.042010342223935605</c:v>
                </c:pt>
                <c:pt idx="7">
                  <c:v>0.0155325567110090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8426236688106312</c:v>
                </c:pt>
                <c:pt idx="3">
                  <c:v>0.002109620209473445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9833911606452528</c:v>
                </c:pt>
                <c:pt idx="1">
                  <c:v>0.09206397015082488</c:v>
                </c:pt>
                <c:pt idx="2">
                  <c:v>0.03875317524807164</c:v>
                </c:pt>
                <c:pt idx="3">
                  <c:v>0.17530253037154014</c:v>
                </c:pt>
                <c:pt idx="4">
                  <c:v>0.12462071537540466</c:v>
                </c:pt>
                <c:pt idx="5">
                  <c:v>0.05312455760596804</c:v>
                </c:pt>
                <c:pt idx="6">
                  <c:v>0.36037368364421235</c:v>
                </c:pt>
                <c:pt idx="7">
                  <c:v>0.10676810039806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4381611506655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3197675271413164</c:v>
                </c:pt>
                <c:pt idx="4">
                  <c:v>0.0094035746203010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251217916903458</c:v>
                </c:pt>
                <c:pt idx="2">
                  <c:v>0.0023625351851152146</c:v>
                </c:pt>
                <c:pt idx="3">
                  <c:v>0.06951840260902178</c:v>
                </c:pt>
                <c:pt idx="4">
                  <c:v>0.03082124605643505</c:v>
                </c:pt>
                <c:pt idx="5">
                  <c:v>0.011418460967233058</c:v>
                </c:pt>
                <c:pt idx="6">
                  <c:v>0.01049373814870290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720733628347319</c:v>
                </c:pt>
                <c:pt idx="3">
                  <c:v>0.0014952116963937003</c:v>
                </c:pt>
                <c:pt idx="4">
                  <c:v>0.007259401798273217</c:v>
                </c:pt>
                <c:pt idx="5">
                  <c:v>0.004212488503164405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091121772647884</c:v>
                </c:pt>
                <c:pt idx="3">
                  <c:v>0.006100504485951015</c:v>
                </c:pt>
                <c:pt idx="4">
                  <c:v>0.004050419728355141</c:v>
                </c:pt>
                <c:pt idx="5">
                  <c:v>0.0023199216283014933</c:v>
                </c:pt>
                <c:pt idx="7">
                  <c:v>0.000543619063665613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047359832318885</c:v>
                </c:pt>
                <c:pt idx="3">
                  <c:v>0.0058614647830626</c:v>
                </c:pt>
                <c:pt idx="4">
                  <c:v>0.003991050017022278</c:v>
                </c:pt>
                <c:pt idx="5">
                  <c:v>0.001529830283339624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6571589283753885</c:v>
                </c:pt>
                <c:pt idx="2">
                  <c:v>0.030726877835645646</c:v>
                </c:pt>
                <c:pt idx="3">
                  <c:v>0.013032383738995429</c:v>
                </c:pt>
                <c:pt idx="4">
                  <c:v>0.017221350462689643</c:v>
                </c:pt>
                <c:pt idx="5">
                  <c:v>0.007292899091361302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082622761110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0350461020761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9527862140653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968038809518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282968740796355</c:v>
                </c:pt>
                <c:pt idx="5">
                  <c:v>0.0064097039314591035</c:v>
                </c:pt>
                <c:pt idx="6">
                  <c:v>0.00082578697725981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577451195635581</c:v>
                </c:pt>
                <c:pt idx="1">
                  <c:v>0.0013679224216805621</c:v>
                </c:pt>
                <c:pt idx="3">
                  <c:v>0.023485472463378603</c:v>
                </c:pt>
                <c:pt idx="4">
                  <c:v>0.023240773444997576</c:v>
                </c:pt>
                <c:pt idx="5">
                  <c:v>0.0068931945782886505</c:v>
                </c:pt>
                <c:pt idx="6">
                  <c:v>0.16391197916160544</c:v>
                </c:pt>
                <c:pt idx="7">
                  <c:v>0.051677557754093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7950270662006521</c:v>
                </c:pt>
                <c:pt idx="7">
                  <c:v>0.0097820619273432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05724463005154</c:v>
                </c:pt>
                <c:pt idx="5">
                  <c:v>0.0038208854334377557</c:v>
                </c:pt>
                <c:pt idx="6">
                  <c:v>0.04266757535824442</c:v>
                </c:pt>
                <c:pt idx="7">
                  <c:v>0.00333087780402501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894250048941868</c:v>
                </c:pt>
                <c:pt idx="6">
                  <c:v>0.00764925949669734</c:v>
                </c:pt>
                <c:pt idx="7">
                  <c:v>0.00195161556446112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4402976734082</c:v>
                </c:pt>
                <c:pt idx="3">
                  <c:v>0.0031015730785352554</c:v>
                </c:pt>
                <c:pt idx="4">
                  <c:v>0.007687983246293506</c:v>
                </c:pt>
                <c:pt idx="5">
                  <c:v>0.004642038111971745</c:v>
                </c:pt>
                <c:pt idx="6">
                  <c:v>0.00378706095288808</c:v>
                </c:pt>
                <c:pt idx="7">
                  <c:v>0.0071037842998441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0646652306208584</c:v>
                </c:pt>
                <c:pt idx="3">
                  <c:v>0.0014788444153208808</c:v>
                </c:pt>
                <c:pt idx="5">
                  <c:v>0.001456616945506279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993837168487204</c:v>
                </c:pt>
                <c:pt idx="3">
                  <c:v>0.0015626769483132377</c:v>
                </c:pt>
                <c:pt idx="4">
                  <c:v>0.00144961373702089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452120240396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3615153964166766</c:v>
                </c:pt>
                <c:pt idx="2">
                  <c:v>0.01196596501072172</c:v>
                </c:pt>
                <c:pt idx="3">
                  <c:v>0.002618628195473478</c:v>
                </c:pt>
                <c:pt idx="4">
                  <c:v>0.002903035483741325</c:v>
                </c:pt>
                <c:pt idx="5">
                  <c:v>0.001024092588928868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96596501072172</c:v>
                </c:pt>
                <c:pt idx="3">
                  <c:v>0.00163693863532015</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66736989950685</c:v>
                </c:pt>
                <c:pt idx="2">
                  <c:v>0.01256692413451898</c:v>
                </c:pt>
                <c:pt idx="4">
                  <c:v>0.001129643033426853</c:v>
                </c:pt>
                <c:pt idx="5">
                  <c:v>0.00303370017996853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534208872296576</c:v>
                </c:pt>
                <c:pt idx="4">
                  <c:v>0.00112964303342685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9773062891600825</c:v>
                </c:pt>
                <c:pt idx="4">
                  <c:v>0.0045892210523037</c:v>
                </c:pt>
                <c:pt idx="5">
                  <c:v>0.0013469127962244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5756726982155767</c:v>
                </c:pt>
                <c:pt idx="4">
                  <c:v>0.004560255612512964</c:v>
                </c:pt>
                <c:pt idx="5">
                  <c:v>0.001293245846934711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35786776670843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255267586115094</c:v>
                </c:pt>
                <c:pt idx="2">
                  <c:v>0.0025280317229527827</c:v>
                </c:pt>
                <c:pt idx="3">
                  <c:v>0.015453126299947986</c:v>
                </c:pt>
                <c:pt idx="4">
                  <c:v>0.008089454070185968</c:v>
                </c:pt>
                <c:pt idx="5">
                  <c:v>0.0039062392869679548</c:v>
                </c:pt>
                <c:pt idx="6">
                  <c:v>0.020753642068378986</c:v>
                </c:pt>
                <c:pt idx="7">
                  <c:v>0.008553699432550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2527467167935403</c:v>
                </c:pt>
                <c:pt idx="3">
                  <c:v>0.001282019400862542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57528714003306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265414870130081</c:v>
                </c:pt>
                <c:pt idx="4">
                  <c:v>0.0043181765849642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3979330682751851</c:v>
                </c:pt>
                <c:pt idx="2">
                  <c:v>0.0014034525425029737</c:v>
                </c:pt>
                <c:pt idx="3">
                  <c:v>0.027886771650299097</c:v>
                </c:pt>
                <c:pt idx="4">
                  <c:v>0.021207124369513844</c:v>
                </c:pt>
                <c:pt idx="5">
                  <c:v>0.004549661919567125</c:v>
                </c:pt>
                <c:pt idx="6">
                  <c:v>0.0120779305250004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14407896264112</c:v>
                </c:pt>
                <c:pt idx="4">
                  <c:v>0.005790748919544037</c:v>
                </c:pt>
                <c:pt idx="5">
                  <c:v>0.00368172896954579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486776008375548</c:v>
                </c:pt>
                <c:pt idx="4">
                  <c:v>0.002223831221639074</c:v>
                </c:pt>
                <c:pt idx="5">
                  <c:v>0.000595780435272937</c:v>
                </c:pt>
                <c:pt idx="7">
                  <c:v>0.000855399348163143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4641104457267278</c:v>
                </c:pt>
                <c:pt idx="4">
                  <c:v>0.002117460888334690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7915796466367601</c:v>
                </c:pt>
                <c:pt idx="7">
                  <c:v>0.001560517514006283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653977895300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123546382059598</c:v>
                </c:pt>
                <c:pt idx="5">
                  <c:v>0.009473730960992239</c:v>
                </c:pt>
                <c:pt idx="6">
                  <c:v>0.00109091392393683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52576587490414</c:v>
                </c:pt>
                <c:pt idx="1">
                  <c:v>0.0017610955034150927</c:v>
                </c:pt>
                <c:pt idx="3">
                  <c:v>0.02643507007388525</c:v>
                </c:pt>
                <c:pt idx="4">
                  <c:v>0.020842234924540345</c:v>
                </c:pt>
                <c:pt idx="5">
                  <c:v>0.007135193691158124</c:v>
                </c:pt>
                <c:pt idx="6">
                  <c:v>0.24557820138360317</c:v>
                </c:pt>
                <c:pt idx="7">
                  <c:v>0.058868989812388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243015685198771</c:v>
                </c:pt>
                <c:pt idx="7">
                  <c:v>0.015949061696972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1984860685089886</c:v>
                </c:pt>
                <c:pt idx="3">
                  <c:v>0.0005946671808258996</c:v>
                </c:pt>
                <c:pt idx="5">
                  <c:v>0.005980449014830738</c:v>
                </c:pt>
                <c:pt idx="6">
                  <c:v>0.06780909568339619</c:v>
                </c:pt>
                <c:pt idx="7">
                  <c:v>0.0052114381156632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309523024157426</c:v>
                </c:pt>
                <c:pt idx="6">
                  <c:v>0.013089433899956496</c:v>
                </c:pt>
                <c:pt idx="7">
                  <c:v>0.003362344100390170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3441363198934</c:v>
                </c:pt>
                <c:pt idx="3">
                  <c:v>0.004543405208557492</c:v>
                </c:pt>
                <c:pt idx="4">
                  <c:v>0.011265338861325375</c:v>
                </c:pt>
                <c:pt idx="5">
                  <c:v>0.005995736203756672</c:v>
                </c:pt>
                <c:pt idx="6">
                  <c:v>0.005601573980541588</c:v>
                </c:pt>
                <c:pt idx="7">
                  <c:v>0.00323804398020616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31322091813889</c:v>
                </c:pt>
                <c:pt idx="3">
                  <c:v>0.0017841793172491292</c:v>
                </c:pt>
                <c:pt idx="5">
                  <c:v>0.001665775553808340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020824840383864</c:v>
                </c:pt>
                <c:pt idx="3">
                  <c:v>0.0025301188948638445</c:v>
                </c:pt>
                <c:pt idx="4">
                  <c:v>0.00234392865013200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467159861545471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83329513289826</c:v>
                </c:pt>
                <c:pt idx="3">
                  <c:v>0.0010751236804549876</c:v>
                </c:pt>
                <c:pt idx="4">
                  <c:v>0.001422325016143534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605402220154242</c:v>
                </c:pt>
                <c:pt idx="1">
                  <c:v>0.09671313639448578</c:v>
                </c:pt>
                <c:pt idx="2">
                  <c:v>0.04045589464231229</c:v>
                </c:pt>
                <c:pt idx="3">
                  <c:v>0.18229049009820741</c:v>
                </c:pt>
                <c:pt idx="4">
                  <c:v>0.11113445934101687</c:v>
                </c:pt>
                <c:pt idx="5">
                  <c:v>0.051811670014563986</c:v>
                </c:pt>
                <c:pt idx="6">
                  <c:v>0.35156405573264077</c:v>
                </c:pt>
                <c:pt idx="7">
                  <c:v>0.113959595159613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83329513289826</c:v>
                </c:pt>
                <c:pt idx="3">
                  <c:v>0.0006827204665323532</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688018258503002</c:v>
                </c:pt>
                <c:pt idx="2">
                  <c:v>0.009455114098644654</c:v>
                </c:pt>
                <c:pt idx="5">
                  <c:v>0.00128592131685925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1295013372112605</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888472474389329</c:v>
                </c:pt>
                <c:pt idx="5">
                  <c:v>0.0019985362928608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079938918664176</c:v>
                </c:pt>
                <c:pt idx="5">
                  <c:v>0.00199853629286084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7265694119279864</c:v>
                </c:pt>
                <c:pt idx="2">
                  <c:v>0.031973801781507785</c:v>
                </c:pt>
                <c:pt idx="3">
                  <c:v>0.013975922051485914</c:v>
                </c:pt>
                <c:pt idx="4">
                  <c:v>0.01774845603336232</c:v>
                </c:pt>
                <c:pt idx="5">
                  <c:v>0.0079048686948506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93140558906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52582573016724</c:v>
                </c:pt>
                <c:pt idx="2">
                  <c:v>0.04171980623099797</c:v>
                </c:pt>
                <c:pt idx="3">
                  <c:v>0.036219346309393004</c:v>
                </c:pt>
                <c:pt idx="4">
                  <c:v>0.15212272988997588</c:v>
                </c:pt>
                <c:pt idx="5">
                  <c:v>0.05358284855375236</c:v>
                </c:pt>
                <c:pt idx="6">
                  <c:v>0.08637481558599412</c:v>
                </c:pt>
                <c:pt idx="7">
                  <c:v>0.0071891150081825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073207936125635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989335673239924</c:v>
                </c:pt>
                <c:pt idx="4">
                  <c:v>0.046282176756650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74576541337735</c:v>
                </c:pt>
                <c:pt idx="3">
                  <c:v>0.05058996393847339</c:v>
                </c:pt>
                <c:pt idx="4">
                  <c:v>0.12601644008827545</c:v>
                </c:pt>
                <c:pt idx="5">
                  <c:v>0.011292701863049386</c:v>
                </c:pt>
                <c:pt idx="6">
                  <c:v>0.0008480748782665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7628475319659446</c:v>
                </c:pt>
                <c:pt idx="5">
                  <c:v>0.00711177472293460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89609020726019</c:v>
                </c:pt>
                <c:pt idx="4">
                  <c:v>0.0059313445853834785</c:v>
                </c:pt>
                <c:pt idx="5">
                  <c:v>0.00436331052206929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7550868993247656</c:v>
                </c:pt>
                <c:pt idx="4">
                  <c:v>0.0059313445853834785</c:v>
                </c:pt>
                <c:pt idx="5">
                  <c:v>0.00436331052206929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5671138277131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115332297577794</c:v>
                </c:pt>
                <c:pt idx="4">
                  <c:v>0.010814298637406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1848336289215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52013182143474</c:v>
                </c:pt>
                <c:pt idx="4">
                  <c:v>0.07526838177676101</c:v>
                </c:pt>
                <c:pt idx="5">
                  <c:v>0.05909994585787642</c:v>
                </c:pt>
                <c:pt idx="6">
                  <c:v>0.07640604128472299</c:v>
                </c:pt>
                <c:pt idx="7">
                  <c:v>0.00137921546736644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40771169362354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676911684300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84936976888713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172939783897666</c:v>
                </c:pt>
                <c:pt idx="3">
                  <c:v>0.0014773132416535078</c:v>
                </c:pt>
                <c:pt idx="4">
                  <c:v>0.022049122813626237</c:v>
                </c:pt>
                <c:pt idx="5">
                  <c:v>0.0037571055160849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172939783897666</c:v>
                </c:pt>
                <c:pt idx="3">
                  <c:v>0.0014773132416535078</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479898628114399</c:v>
                </c:pt>
                <c:pt idx="2">
                  <c:v>0.001900036170611335</c:v>
                </c:pt>
                <c:pt idx="3">
                  <c:v>0.005933502736417794</c:v>
                </c:pt>
                <c:pt idx="5">
                  <c:v>0.003580843435245933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933502736417794</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423616638920692</c:v>
                </c:pt>
                <c:pt idx="4">
                  <c:v>0.00180107513591054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63971128176984705</c:v>
                </c:pt>
                <c:pt idx="4">
                  <c:v>0.00172118430853115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42682992961523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6808868449546979</c:v>
                </c:pt>
                <c:pt idx="5">
                  <c:v>0.00135069044763208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35324480763926</c:v>
                </c:pt>
                <c:pt idx="2">
                  <c:v>0.015904222071279773</c:v>
                </c:pt>
                <c:pt idx="3">
                  <c:v>0.06071186133109186</c:v>
                </c:pt>
                <c:pt idx="4">
                  <c:v>0.04257676073900146</c:v>
                </c:pt>
                <c:pt idx="5">
                  <c:v>0.012101196950313493</c:v>
                </c:pt>
                <c:pt idx="6">
                  <c:v>0.06874249539814392</c:v>
                </c:pt>
                <c:pt idx="7">
                  <c:v>0.024360477952654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590172383935231</c:v>
                </c:pt>
                <c:pt idx="3">
                  <c:v>0.003162540150020165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7975381828754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39628699823455134</c:v>
                </c:pt>
                <c:pt idx="4">
                  <c:v>0.015839912981702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716919170773789</c:v>
                </c:pt>
                <c:pt idx="2">
                  <c:v>0.003572613421501572</c:v>
                </c:pt>
                <c:pt idx="3">
                  <c:v>0.12218844690941529</c:v>
                </c:pt>
                <c:pt idx="4">
                  <c:v>0.04236641034083054</c:v>
                </c:pt>
                <c:pt idx="5">
                  <c:v>0.020132079867063155</c:v>
                </c:pt>
                <c:pt idx="6">
                  <c:v>0.008512359623710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8997029394762095</c:v>
                </c:pt>
                <c:pt idx="3">
                  <c:v>0.003159421923369352</c:v>
                </c:pt>
                <c:pt idx="4">
                  <c:v>0.009136223381847617</c:v>
                </c:pt>
                <c:pt idx="5">
                  <c:v>0.00488311859779583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174596887447</c:v>
                </c:pt>
                <c:pt idx="3">
                  <c:v>0.007675802994699243</c:v>
                </c:pt>
                <c:pt idx="4">
                  <c:v>0.006371727145433102</c:v>
                </c:pt>
                <c:pt idx="5">
                  <c:v>0.00450878172481893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075314376188491</c:v>
                </c:pt>
                <c:pt idx="3">
                  <c:v>0.0074205178857297705</c:v>
                </c:pt>
                <c:pt idx="4">
                  <c:v>0.006371727145433102</c:v>
                </c:pt>
                <c:pt idx="5">
                  <c:v>0.003470738370972990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5081027880064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50810278800644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08996966117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1841128025335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35050548355367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39713970393122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443693610958939</c:v>
                </c:pt>
                <c:pt idx="4">
                  <c:v>0.0007571534971406242</c:v>
                </c:pt>
                <c:pt idx="5">
                  <c:v>0.00254470962807237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076338599561821</c:v>
                </c:pt>
                <c:pt idx="1">
                  <c:v>0.0008732385346798901</c:v>
                </c:pt>
                <c:pt idx="3">
                  <c:v>0.019805424786509852</c:v>
                </c:pt>
                <c:pt idx="4">
                  <c:v>0.02629043999623075</c:v>
                </c:pt>
                <c:pt idx="5">
                  <c:v>0.006602774658917341</c:v>
                </c:pt>
                <c:pt idx="6">
                  <c:v>0.06088104140252055</c:v>
                </c:pt>
                <c:pt idx="7">
                  <c:v>0.0426924198724128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637340142787428</c:v>
                </c:pt>
                <c:pt idx="1">
                  <c:v>0.08178379124933727</c:v>
                </c:pt>
                <c:pt idx="2">
                  <c:v>0.020481447272063334</c:v>
                </c:pt>
                <c:pt idx="3">
                  <c:v>0.11501586541818654</c:v>
                </c:pt>
                <c:pt idx="4">
                  <c:v>0.07230199940364156</c:v>
                </c:pt>
                <c:pt idx="5">
                  <c:v>0.043289684745348084</c:v>
                </c:pt>
                <c:pt idx="6">
                  <c:v>0.4893803967651918</c:v>
                </c:pt>
                <c:pt idx="7">
                  <c:v>0.123817711044728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5329263819391094</c:v>
                </c:pt>
                <c:pt idx="7">
                  <c:v>0.00199575814699457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48628470823932</c:v>
                </c:pt>
                <c:pt idx="5">
                  <c:v>0.0010951771757369416</c:v>
                </c:pt>
                <c:pt idx="6">
                  <c:v>0.010930683418692886</c:v>
                </c:pt>
                <c:pt idx="7">
                  <c:v>0.00095732174448201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7807522364339838</c:v>
                </c:pt>
                <c:pt idx="6">
                  <c:v>0.00077824122738268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154534041090638</c:v>
                </c:pt>
                <c:pt idx="2">
                  <c:v>0.013751873628375148</c:v>
                </c:pt>
                <c:pt idx="3">
                  <c:v>0.009002758505182775</c:v>
                </c:pt>
                <c:pt idx="4">
                  <c:v>0.008385321258970796</c:v>
                </c:pt>
                <c:pt idx="5">
                  <c:v>0.0057967663553207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747127105535012</c:v>
                </c:pt>
                <c:pt idx="3">
                  <c:v>0.0012830276672645296</c:v>
                </c:pt>
                <c:pt idx="4">
                  <c:v>0.0031596628634188587</c:v>
                </c:pt>
                <c:pt idx="5">
                  <c:v>0.002938635048761079</c:v>
                </c:pt>
                <c:pt idx="6">
                  <c:v>0.0014982291134524176</c:v>
                </c:pt>
                <c:pt idx="7">
                  <c:v>0.0120156626243041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0955921280444254</c:v>
                </c:pt>
                <c:pt idx="5">
                  <c:v>0.00119504317565069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17241610620345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6476015247063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0888526515460055</c:v>
                </c:pt>
                <c:pt idx="2">
                  <c:v>0.018411934016194547</c:v>
                </c:pt>
                <c:pt idx="3">
                  <c:v>0.004574204249473647</c:v>
                </c:pt>
                <c:pt idx="4">
                  <c:v>0.004784875292609445</c:v>
                </c:pt>
                <c:pt idx="5">
                  <c:v>0.002320182706786531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8411934016194547</c:v>
                </c:pt>
                <c:pt idx="3">
                  <c:v>0.0028490795793497036</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886398500695783</c:v>
                </c:pt>
                <c:pt idx="2">
                  <c:v>0.016536953761794405</c:v>
                </c:pt>
                <c:pt idx="3">
                  <c:v>0.0007657762304275188</c:v>
                </c:pt>
                <c:pt idx="4">
                  <c:v>0.0025389301090565546</c:v>
                </c:pt>
                <c:pt idx="5">
                  <c:v>0.0052540305931498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95946732779156</c:v>
                </c:pt>
                <c:pt idx="3">
                  <c:v>0.0006410739355115744</c:v>
                </c:pt>
                <c:pt idx="4">
                  <c:v>0.0025389301090565546</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967604743324696</c:v>
                </c:pt>
                <c:pt idx="4">
                  <c:v>0.009831634774433188</c:v>
                </c:pt>
                <c:pt idx="5">
                  <c:v>0.00052486842794755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472685893652195</c:v>
                </c:pt>
                <c:pt idx="4">
                  <c:v>0.00976592141810255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7266843158295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72668431582951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07698498513024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540867350420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741051332760194</c:v>
                </c:pt>
                <c:pt idx="2">
                  <c:v>0.008396656287195253</c:v>
                </c:pt>
                <c:pt idx="3">
                  <c:v>0.03402907105277163</c:v>
                </c:pt>
                <c:pt idx="4">
                  <c:v>0.02974150479033008</c:v>
                </c:pt>
                <c:pt idx="5">
                  <c:v>0.008753189629188458</c:v>
                </c:pt>
                <c:pt idx="6">
                  <c:v>0.04216333541496148</c:v>
                </c:pt>
                <c:pt idx="7">
                  <c:v>0.01451172919547036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04678831725519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2145094930675225</c:v>
                </c:pt>
                <c:pt idx="4">
                  <c:v>0.009606618067397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956483850459307</c:v>
                </c:pt>
                <c:pt idx="2">
                  <c:v>0.002174091561106194</c:v>
                </c:pt>
                <c:pt idx="3">
                  <c:v>0.06805537518942735</c:v>
                </c:pt>
                <c:pt idx="4">
                  <c:v>0.03357957421998861</c:v>
                </c:pt>
                <c:pt idx="5">
                  <c:v>0.010537707226302637</c:v>
                </c:pt>
                <c:pt idx="6">
                  <c:v>0.00970399908709912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01364017971865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784674348842123</c:v>
                </c:pt>
                <c:pt idx="3">
                  <c:v>0.00567244360286276</c:v>
                </c:pt>
                <c:pt idx="4">
                  <c:v>0.004362442460484648</c:v>
                </c:pt>
                <c:pt idx="5">
                  <c:v>0.002143817610688059</c:v>
                </c:pt>
                <c:pt idx="7">
                  <c:v>0.00050311949593458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85340093679934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3946631512145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57613743262517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575306309467875</c:v>
                </c:pt>
                <c:pt idx="5">
                  <c:v>0.006110501322169338</c:v>
                </c:pt>
                <c:pt idx="6">
                  <c:v>0.000767382115441679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117609307633109</c:v>
                </c:pt>
                <c:pt idx="1">
                  <c:v>0.0012473304312190692</c:v>
                </c:pt>
                <c:pt idx="3">
                  <c:v>0.022525572917754887</c:v>
                </c:pt>
                <c:pt idx="4">
                  <c:v>0.027595036417759882</c:v>
                </c:pt>
                <c:pt idx="5">
                  <c:v>0.009169423557449522</c:v>
                </c:pt>
                <c:pt idx="6">
                  <c:v>0.1706920460468923</c:v>
                </c:pt>
                <c:pt idx="7">
                  <c:v>0.0483206777047770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64095744754277</c:v>
                </c:pt>
                <c:pt idx="7">
                  <c:v>0.0092961595641784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46482512819814</c:v>
                </c:pt>
                <c:pt idx="5">
                  <c:v>0.003728171874261882</c:v>
                </c:pt>
                <c:pt idx="6">
                  <c:v>0.04291062211435607</c:v>
                </c:pt>
                <c:pt idx="7">
                  <c:v>0.003357112895132057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4681474547342714</c:v>
                </c:pt>
                <c:pt idx="6">
                  <c:v>0.007081716511332668</c:v>
                </c:pt>
                <c:pt idx="7">
                  <c:v>0.001782869918741312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437805979091613</c:v>
                </c:pt>
                <c:pt idx="3">
                  <c:v>0.002879194710825656</c:v>
                </c:pt>
                <c:pt idx="4">
                  <c:v>0.007611119142748439</c:v>
                </c:pt>
                <c:pt idx="5">
                  <c:v>0.004424045530833966</c:v>
                </c:pt>
                <c:pt idx="6">
                  <c:v>0.0037361432336561595</c:v>
                </c:pt>
                <c:pt idx="7">
                  <c:v>0.00657108856119226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819030904163431</c:v>
                </c:pt>
                <c:pt idx="3">
                  <c:v>0.0013492355971917473</c:v>
                </c:pt>
                <c:pt idx="5">
                  <c:v>0.00142415654518175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68519546141138</c:v>
                </c:pt>
                <c:pt idx="3">
                  <c:v>0.0014402900014489127</c:v>
                </c:pt>
                <c:pt idx="4">
                  <c:v>0.00134080108807378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89663820442640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414527824553148</c:v>
                </c:pt>
                <c:pt idx="2">
                  <c:v>0.011547955617786152</c:v>
                </c:pt>
                <c:pt idx="3">
                  <c:v>0.0024065638672402523</c:v>
                </c:pt>
                <c:pt idx="4">
                  <c:v>0.0029619806453853336</c:v>
                </c:pt>
                <c:pt idx="5">
                  <c:v>0.00108679354246440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318423438673136</c:v>
                </c:pt>
                <c:pt idx="2">
                  <c:v>0.011811776362134482</c:v>
                </c:pt>
                <c:pt idx="4">
                  <c:v>0.0010378938327253494</c:v>
                </c:pt>
                <c:pt idx="5">
                  <c:v>0.002805866420781994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8424718773488703</c:v>
                </c:pt>
                <c:pt idx="4">
                  <c:v>0.004225892765946281</c:v>
                </c:pt>
                <c:pt idx="5">
                  <c:v>0.00122818258918427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0844645136267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9084141871889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4173935702335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998385814752306</c:v>
                </c:pt>
                <c:pt idx="2">
                  <c:v>0.008427652992016674</c:v>
                </c:pt>
                <c:pt idx="3">
                  <c:v>0.03544095773700482</c:v>
                </c:pt>
                <c:pt idx="4">
                  <c:v>0.02328382334463693</c:v>
                </c:pt>
                <c:pt idx="5">
                  <c:v>0.007656179566721787</c:v>
                </c:pt>
                <c:pt idx="6">
                  <c:v>0.042010342223935605</c:v>
                </c:pt>
                <c:pt idx="7">
                  <c:v>0.0155325567110090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252060661466229</c:v>
                </c:pt>
                <c:pt idx="2">
                  <c:v>0.04993714287014782</c:v>
                </c:pt>
                <c:pt idx="3">
                  <c:v>0.11115435261001685</c:v>
                </c:pt>
                <c:pt idx="4">
                  <c:v>0.44456176938249176</c:v>
                </c:pt>
                <c:pt idx="5">
                  <c:v>0.13567675574807833</c:v>
                </c:pt>
                <c:pt idx="6">
                  <c:v>0.1750366434426072</c:v>
                </c:pt>
                <c:pt idx="7">
                  <c:v>0.01464956846004308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4381611506655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3197675271413164</c:v>
                </c:pt>
                <c:pt idx="4">
                  <c:v>0.0094035746203010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251217916903458</c:v>
                </c:pt>
                <c:pt idx="2">
                  <c:v>0.0023625351851152146</c:v>
                </c:pt>
                <c:pt idx="3">
                  <c:v>0.06951840260902178</c:v>
                </c:pt>
                <c:pt idx="4">
                  <c:v>0.03082124605643505</c:v>
                </c:pt>
                <c:pt idx="5">
                  <c:v>0.011418460967233058</c:v>
                </c:pt>
                <c:pt idx="6">
                  <c:v>0.01049373814870290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264931572243390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091121772647884</c:v>
                </c:pt>
                <c:pt idx="3">
                  <c:v>0.006100504485951015</c:v>
                </c:pt>
                <c:pt idx="4">
                  <c:v>0.004050419728355141</c:v>
                </c:pt>
                <c:pt idx="5">
                  <c:v>0.0023199216283014933</c:v>
                </c:pt>
                <c:pt idx="7">
                  <c:v>0.000543619063665613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704937982979487</c:v>
                </c:pt>
                <c:pt idx="3">
                  <c:v>0.015563015695094539</c:v>
                </c:pt>
                <c:pt idx="4">
                  <c:v>0.008415376425880578</c:v>
                </c:pt>
                <c:pt idx="5">
                  <c:v>0.011475085245003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082622761110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0350461020761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968038809518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282968740796355</c:v>
                </c:pt>
                <c:pt idx="5">
                  <c:v>0.0064097039314591035</c:v>
                </c:pt>
                <c:pt idx="6">
                  <c:v>0.000825786977259813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577451195635581</c:v>
                </c:pt>
                <c:pt idx="1">
                  <c:v>0.0013679224216805621</c:v>
                </c:pt>
                <c:pt idx="3">
                  <c:v>0.023485472463378603</c:v>
                </c:pt>
                <c:pt idx="4">
                  <c:v>0.023240773444997576</c:v>
                </c:pt>
                <c:pt idx="5">
                  <c:v>0.0068931945782886505</c:v>
                </c:pt>
                <c:pt idx="6">
                  <c:v>0.16391197916160544</c:v>
                </c:pt>
                <c:pt idx="7">
                  <c:v>0.051677557754093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7950270662006521</c:v>
                </c:pt>
                <c:pt idx="7">
                  <c:v>0.0097820619273432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05724463005154</c:v>
                </c:pt>
                <c:pt idx="5">
                  <c:v>0.0038208854334377557</c:v>
                </c:pt>
                <c:pt idx="6">
                  <c:v>0.04266757535824442</c:v>
                </c:pt>
                <c:pt idx="7">
                  <c:v>0.00333087780402501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894250048941868</c:v>
                </c:pt>
                <c:pt idx="6">
                  <c:v>0.00764925949669734</c:v>
                </c:pt>
                <c:pt idx="7">
                  <c:v>0.00195161556446112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4402976734082</c:v>
                </c:pt>
                <c:pt idx="3">
                  <c:v>0.0031015730785352554</c:v>
                </c:pt>
                <c:pt idx="4">
                  <c:v>0.007687983246293506</c:v>
                </c:pt>
                <c:pt idx="5">
                  <c:v>0.004642038111971745</c:v>
                </c:pt>
                <c:pt idx="6">
                  <c:v>0.00378706095288808</c:v>
                </c:pt>
                <c:pt idx="7">
                  <c:v>0.0071037842998441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0646652306208584</c:v>
                </c:pt>
                <c:pt idx="3">
                  <c:v>0.0014788444153208808</c:v>
                </c:pt>
                <c:pt idx="5">
                  <c:v>0.001456616945506279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993837168487204</c:v>
                </c:pt>
                <c:pt idx="3">
                  <c:v>0.0015626769483132377</c:v>
                </c:pt>
                <c:pt idx="4">
                  <c:v>0.00144961373702089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452120240396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3615153964166766</c:v>
                </c:pt>
                <c:pt idx="2">
                  <c:v>0.01196596501072172</c:v>
                </c:pt>
                <c:pt idx="3">
                  <c:v>0.002618628195473478</c:v>
                </c:pt>
                <c:pt idx="4">
                  <c:v>0.002903035483741325</c:v>
                </c:pt>
                <c:pt idx="5">
                  <c:v>0.001024092588928868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66736989950685</c:v>
                </c:pt>
                <c:pt idx="2">
                  <c:v>0.01256692413451898</c:v>
                </c:pt>
                <c:pt idx="4">
                  <c:v>0.001129643033426853</c:v>
                </c:pt>
                <c:pt idx="5">
                  <c:v>0.00303370017996853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9773062891600825</c:v>
                </c:pt>
                <c:pt idx="4">
                  <c:v>0.0045892210523037</c:v>
                </c:pt>
                <c:pt idx="5">
                  <c:v>0.0013469127962244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35786776670843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255267586115094</c:v>
                </c:pt>
                <c:pt idx="2">
                  <c:v>0.0025280317229527827</c:v>
                </c:pt>
                <c:pt idx="3">
                  <c:v>0.015453126299947986</c:v>
                </c:pt>
                <c:pt idx="4">
                  <c:v>0.008089454070185968</c:v>
                </c:pt>
                <c:pt idx="5">
                  <c:v>0.0039062392869679548</c:v>
                </c:pt>
                <c:pt idx="6">
                  <c:v>0.020753642068378986</c:v>
                </c:pt>
                <c:pt idx="7">
                  <c:v>0.008553699432550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57528714003306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265414870130081</c:v>
                </c:pt>
                <c:pt idx="4">
                  <c:v>0.0043181765849642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3979330682751851</c:v>
                </c:pt>
                <c:pt idx="2">
                  <c:v>0.0014034525425029737</c:v>
                </c:pt>
                <c:pt idx="3">
                  <c:v>0.027886771650299097</c:v>
                </c:pt>
                <c:pt idx="4">
                  <c:v>0.021207124369513844</c:v>
                </c:pt>
                <c:pt idx="5">
                  <c:v>0.004549661919567125</c:v>
                </c:pt>
                <c:pt idx="6">
                  <c:v>0.0120779305250004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486776008375548</c:v>
                </c:pt>
                <c:pt idx="4">
                  <c:v>0.002223831221639074</c:v>
                </c:pt>
                <c:pt idx="5">
                  <c:v>0.000595780435272937</c:v>
                </c:pt>
                <c:pt idx="7">
                  <c:v>0.000855399348163143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7915796466367601</c:v>
                </c:pt>
                <c:pt idx="7">
                  <c:v>0.001560517514006283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8653977895300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123546382059598</c:v>
                </c:pt>
                <c:pt idx="5">
                  <c:v>0.009473730960992239</c:v>
                </c:pt>
                <c:pt idx="6">
                  <c:v>0.00109091392393683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52576587490414</c:v>
                </c:pt>
                <c:pt idx="1">
                  <c:v>0.0017610955034150927</c:v>
                </c:pt>
                <c:pt idx="3">
                  <c:v>0.02643507007388525</c:v>
                </c:pt>
                <c:pt idx="4">
                  <c:v>0.020842234924540345</c:v>
                </c:pt>
                <c:pt idx="5">
                  <c:v>0.007135193691158124</c:v>
                </c:pt>
                <c:pt idx="6">
                  <c:v>0.24557820138360317</c:v>
                </c:pt>
                <c:pt idx="7">
                  <c:v>0.058868989812388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243015685198771</c:v>
                </c:pt>
                <c:pt idx="7">
                  <c:v>0.015949061696972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1984860685089886</c:v>
                </c:pt>
                <c:pt idx="3">
                  <c:v>0.0005946671808258996</c:v>
                </c:pt>
                <c:pt idx="5">
                  <c:v>0.005980449014830738</c:v>
                </c:pt>
                <c:pt idx="6">
                  <c:v>0.06780909568339619</c:v>
                </c:pt>
                <c:pt idx="7">
                  <c:v>0.0052114381156632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309523024157426</c:v>
                </c:pt>
                <c:pt idx="6">
                  <c:v>0.013089433899956496</c:v>
                </c:pt>
                <c:pt idx="7">
                  <c:v>0.003362344100390170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3441363198934</c:v>
                </c:pt>
                <c:pt idx="3">
                  <c:v>0.004543405208557492</c:v>
                </c:pt>
                <c:pt idx="4">
                  <c:v>0.011265338861325375</c:v>
                </c:pt>
                <c:pt idx="5">
                  <c:v>0.005995736203756672</c:v>
                </c:pt>
                <c:pt idx="6">
                  <c:v>0.005601573980541588</c:v>
                </c:pt>
                <c:pt idx="7">
                  <c:v>0.00323804398020616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3/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3/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0.xml"/><Relationship Id="rId7" Type="http://schemas.openxmlformats.org/officeDocument/2006/relationships/chart" Target="../charts/chart1091.xml"/><Relationship Id="rId8" Type="http://schemas.openxmlformats.org/officeDocument/2006/relationships/chart" Target="../charts/chart1092.xml"/><Relationship Id="rId9" Type="http://schemas.openxmlformats.org/officeDocument/2006/relationships/chart" Target="../charts/chart1093.xml"/><Relationship Id="rId10" Type="http://schemas.openxmlformats.org/officeDocument/2006/relationships/chart" Target="../charts/chart1094.xml"/><Relationship Id="rId11" Type="http://schemas.openxmlformats.org/officeDocument/2006/relationships/chart" Target="../charts/chart1095.xml"/><Relationship Id="rId12" Type="http://schemas.openxmlformats.org/officeDocument/2006/relationships/chart" Target="../charts/chart1096.xml"/><Relationship Id="rId13" Type="http://schemas.openxmlformats.org/officeDocument/2006/relationships/chart" Target="../charts/chart1097.xml"/><Relationship Id="rId14" Type="http://schemas.openxmlformats.org/officeDocument/2006/relationships/chart" Target="../charts/chart1098.xml"/><Relationship Id="rId15" Type="http://schemas.openxmlformats.org/officeDocument/2006/relationships/chart" Target="../charts/chart1099.xml"/><Relationship Id="rId16" Type="http://schemas.openxmlformats.org/officeDocument/2006/relationships/chart" Target="../charts/chart1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1.xml"/><Relationship Id="rId7" Type="http://schemas.openxmlformats.org/officeDocument/2006/relationships/chart" Target="../charts/chart1102.xml"/><Relationship Id="rId8" Type="http://schemas.openxmlformats.org/officeDocument/2006/relationships/chart" Target="../charts/chart1103.xml"/><Relationship Id="rId9" Type="http://schemas.openxmlformats.org/officeDocument/2006/relationships/chart" Target="../charts/chart1104.xml"/><Relationship Id="rId10" Type="http://schemas.openxmlformats.org/officeDocument/2006/relationships/chart" Target="../charts/chart1105.xml"/><Relationship Id="rId11" Type="http://schemas.openxmlformats.org/officeDocument/2006/relationships/chart" Target="../charts/chart1106.xml"/><Relationship Id="rId12" Type="http://schemas.openxmlformats.org/officeDocument/2006/relationships/chart" Target="../charts/chart1107.xml"/><Relationship Id="rId13" Type="http://schemas.openxmlformats.org/officeDocument/2006/relationships/chart" Target="../charts/chart1108.xml"/><Relationship Id="rId14" Type="http://schemas.openxmlformats.org/officeDocument/2006/relationships/chart" Target="../charts/chart1109.xml"/><Relationship Id="rId15" Type="http://schemas.openxmlformats.org/officeDocument/2006/relationships/chart" Target="../charts/chart1110.xml"/><Relationship Id="rId16" Type="http://schemas.openxmlformats.org/officeDocument/2006/relationships/chart" Target="../charts/chart111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2.xml"/><Relationship Id="rId7" Type="http://schemas.openxmlformats.org/officeDocument/2006/relationships/chart" Target="../charts/chart1113.xml"/><Relationship Id="rId8" Type="http://schemas.openxmlformats.org/officeDocument/2006/relationships/chart" Target="../charts/chart1114.xml"/><Relationship Id="rId9" Type="http://schemas.openxmlformats.org/officeDocument/2006/relationships/chart" Target="../charts/chart1115.xml"/><Relationship Id="rId10" Type="http://schemas.openxmlformats.org/officeDocument/2006/relationships/chart" Target="../charts/chart1116.xml"/><Relationship Id="rId11" Type="http://schemas.openxmlformats.org/officeDocument/2006/relationships/chart" Target="../charts/chart1117.xml"/><Relationship Id="rId12" Type="http://schemas.openxmlformats.org/officeDocument/2006/relationships/chart" Target="../charts/chart1118.xml"/><Relationship Id="rId13" Type="http://schemas.openxmlformats.org/officeDocument/2006/relationships/chart" Target="../charts/chart1119.xml"/><Relationship Id="rId14" Type="http://schemas.openxmlformats.org/officeDocument/2006/relationships/chart" Target="../charts/chart1120.xml"/><Relationship Id="rId15" Type="http://schemas.openxmlformats.org/officeDocument/2006/relationships/chart" Target="../charts/chart1121.xml"/><Relationship Id="rId16" Type="http://schemas.openxmlformats.org/officeDocument/2006/relationships/chart" Target="../charts/chart112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3.xml"/><Relationship Id="rId7" Type="http://schemas.openxmlformats.org/officeDocument/2006/relationships/chart" Target="../charts/chart1124.xml"/><Relationship Id="rId8" Type="http://schemas.openxmlformats.org/officeDocument/2006/relationships/chart" Target="../charts/chart1125.xml"/><Relationship Id="rId9" Type="http://schemas.openxmlformats.org/officeDocument/2006/relationships/chart" Target="../charts/chart1126.xml"/><Relationship Id="rId10" Type="http://schemas.openxmlformats.org/officeDocument/2006/relationships/chart" Target="../charts/chart1127.xml"/><Relationship Id="rId11" Type="http://schemas.openxmlformats.org/officeDocument/2006/relationships/chart" Target="../charts/chart1128.xml"/><Relationship Id="rId12" Type="http://schemas.openxmlformats.org/officeDocument/2006/relationships/chart" Target="../charts/chart1129.xml"/><Relationship Id="rId13" Type="http://schemas.openxmlformats.org/officeDocument/2006/relationships/chart" Target="../charts/chart1130.xml"/><Relationship Id="rId14" Type="http://schemas.openxmlformats.org/officeDocument/2006/relationships/chart" Target="../charts/chart1131.xml"/><Relationship Id="rId15" Type="http://schemas.openxmlformats.org/officeDocument/2006/relationships/chart" Target="../charts/chart1132.xml"/><Relationship Id="rId16" Type="http://schemas.openxmlformats.org/officeDocument/2006/relationships/chart" Target="../charts/chart113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4.xml"/><Relationship Id="rId7" Type="http://schemas.openxmlformats.org/officeDocument/2006/relationships/chart" Target="../charts/chart1135.xml"/><Relationship Id="rId8" Type="http://schemas.openxmlformats.org/officeDocument/2006/relationships/chart" Target="../charts/chart1136.xml"/><Relationship Id="rId9" Type="http://schemas.openxmlformats.org/officeDocument/2006/relationships/chart" Target="../charts/chart1137.xml"/><Relationship Id="rId10" Type="http://schemas.openxmlformats.org/officeDocument/2006/relationships/chart" Target="../charts/chart1138.xml"/><Relationship Id="rId11" Type="http://schemas.openxmlformats.org/officeDocument/2006/relationships/chart" Target="../charts/chart1139.xml"/><Relationship Id="rId12" Type="http://schemas.openxmlformats.org/officeDocument/2006/relationships/chart" Target="../charts/chart1140.xml"/><Relationship Id="rId13" Type="http://schemas.openxmlformats.org/officeDocument/2006/relationships/chart" Target="../charts/chart1141.xml"/><Relationship Id="rId14" Type="http://schemas.openxmlformats.org/officeDocument/2006/relationships/chart" Target="../charts/chart1142.xml"/><Relationship Id="rId15" Type="http://schemas.openxmlformats.org/officeDocument/2006/relationships/chart" Target="../charts/chart1143.xml"/><Relationship Id="rId16" Type="http://schemas.openxmlformats.org/officeDocument/2006/relationships/chart" Target="../charts/chart114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5.xml"/><Relationship Id="rId7" Type="http://schemas.openxmlformats.org/officeDocument/2006/relationships/chart" Target="../charts/chart1146.xml"/><Relationship Id="rId8" Type="http://schemas.openxmlformats.org/officeDocument/2006/relationships/chart" Target="../charts/chart1147.xml"/><Relationship Id="rId9" Type="http://schemas.openxmlformats.org/officeDocument/2006/relationships/chart" Target="../charts/chart1148.xml"/><Relationship Id="rId10" Type="http://schemas.openxmlformats.org/officeDocument/2006/relationships/chart" Target="../charts/chart1149.xml"/><Relationship Id="rId11" Type="http://schemas.openxmlformats.org/officeDocument/2006/relationships/chart" Target="../charts/chart1150.xml"/><Relationship Id="rId12" Type="http://schemas.openxmlformats.org/officeDocument/2006/relationships/chart" Target="../charts/chart1151.xml"/><Relationship Id="rId13" Type="http://schemas.openxmlformats.org/officeDocument/2006/relationships/chart" Target="../charts/chart1152.xml"/><Relationship Id="rId14" Type="http://schemas.openxmlformats.org/officeDocument/2006/relationships/chart" Target="../charts/chart1153.xml"/><Relationship Id="rId15" Type="http://schemas.openxmlformats.org/officeDocument/2006/relationships/chart" Target="../charts/chart1154.xml"/><Relationship Id="rId16" Type="http://schemas.openxmlformats.org/officeDocument/2006/relationships/chart" Target="../charts/chart1155.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 Id="rId7" Type="http://schemas.openxmlformats.org/officeDocument/2006/relationships/chart" Target="../charts/chart299.xml"/><Relationship Id="rId8" Type="http://schemas.openxmlformats.org/officeDocument/2006/relationships/chart" Target="../charts/chart300.xml"/><Relationship Id="rId9" Type="http://schemas.openxmlformats.org/officeDocument/2006/relationships/chart" Target="../charts/chart301.xml"/><Relationship Id="rId10" Type="http://schemas.openxmlformats.org/officeDocument/2006/relationships/chart" Target="../charts/chart302.xml"/><Relationship Id="rId11" Type="http://schemas.openxmlformats.org/officeDocument/2006/relationships/chart" Target="../charts/chart303.xml"/><Relationship Id="rId12" Type="http://schemas.openxmlformats.org/officeDocument/2006/relationships/chart" Target="../charts/chart304.xml"/><Relationship Id="rId13" Type="http://schemas.openxmlformats.org/officeDocument/2006/relationships/chart" Target="../charts/chart305.xml"/><Relationship Id="rId14" Type="http://schemas.openxmlformats.org/officeDocument/2006/relationships/chart" Target="../charts/chart306.xml"/><Relationship Id="rId15" Type="http://schemas.openxmlformats.org/officeDocument/2006/relationships/chart" Target="../charts/chart307.xml"/><Relationship Id="rId16" Type="http://schemas.openxmlformats.org/officeDocument/2006/relationships/chart" Target="../charts/chart30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 Id="rId7" Type="http://schemas.openxmlformats.org/officeDocument/2006/relationships/chart" Target="../charts/chart310.xml"/><Relationship Id="rId8" Type="http://schemas.openxmlformats.org/officeDocument/2006/relationships/chart" Target="../charts/chart311.xml"/><Relationship Id="rId9" Type="http://schemas.openxmlformats.org/officeDocument/2006/relationships/chart" Target="../charts/chart312.xml"/><Relationship Id="rId10" Type="http://schemas.openxmlformats.org/officeDocument/2006/relationships/chart" Target="../charts/chart313.xml"/><Relationship Id="rId11" Type="http://schemas.openxmlformats.org/officeDocument/2006/relationships/chart" Target="../charts/chart314.xml"/><Relationship Id="rId12" Type="http://schemas.openxmlformats.org/officeDocument/2006/relationships/chart" Target="../charts/chart315.xml"/><Relationship Id="rId13" Type="http://schemas.openxmlformats.org/officeDocument/2006/relationships/chart" Target="../charts/chart316.xml"/><Relationship Id="rId14" Type="http://schemas.openxmlformats.org/officeDocument/2006/relationships/chart" Target="../charts/chart317.xml"/><Relationship Id="rId15" Type="http://schemas.openxmlformats.org/officeDocument/2006/relationships/chart" Target="../charts/chart318.xml"/><Relationship Id="rId16" Type="http://schemas.openxmlformats.org/officeDocument/2006/relationships/chart" Target="../charts/chart31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 Id="rId7" Type="http://schemas.openxmlformats.org/officeDocument/2006/relationships/chart" Target="../charts/chart321.xml"/><Relationship Id="rId8" Type="http://schemas.openxmlformats.org/officeDocument/2006/relationships/chart" Target="../charts/chart322.xml"/><Relationship Id="rId9" Type="http://schemas.openxmlformats.org/officeDocument/2006/relationships/chart" Target="../charts/chart323.xml"/><Relationship Id="rId10" Type="http://schemas.openxmlformats.org/officeDocument/2006/relationships/chart" Target="../charts/chart324.xml"/><Relationship Id="rId11" Type="http://schemas.openxmlformats.org/officeDocument/2006/relationships/chart" Target="../charts/chart325.xml"/><Relationship Id="rId12" Type="http://schemas.openxmlformats.org/officeDocument/2006/relationships/chart" Target="../charts/chart326.xml"/><Relationship Id="rId13" Type="http://schemas.openxmlformats.org/officeDocument/2006/relationships/chart" Target="../charts/chart327.xml"/><Relationship Id="rId14" Type="http://schemas.openxmlformats.org/officeDocument/2006/relationships/chart" Target="../charts/chart328.xml"/><Relationship Id="rId15" Type="http://schemas.openxmlformats.org/officeDocument/2006/relationships/chart" Target="../charts/chart329.xml"/><Relationship Id="rId16" Type="http://schemas.openxmlformats.org/officeDocument/2006/relationships/chart" Target="../charts/chart3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 Id="rId8" Type="http://schemas.openxmlformats.org/officeDocument/2006/relationships/chart" Target="../charts/chart333.xml"/><Relationship Id="rId9" Type="http://schemas.openxmlformats.org/officeDocument/2006/relationships/chart" Target="../charts/chart334.xml"/><Relationship Id="rId10" Type="http://schemas.openxmlformats.org/officeDocument/2006/relationships/chart" Target="../charts/chart335.xml"/><Relationship Id="rId11" Type="http://schemas.openxmlformats.org/officeDocument/2006/relationships/chart" Target="../charts/chart336.xml"/><Relationship Id="rId12" Type="http://schemas.openxmlformats.org/officeDocument/2006/relationships/chart" Target="../charts/chart337.xml"/><Relationship Id="rId13" Type="http://schemas.openxmlformats.org/officeDocument/2006/relationships/chart" Target="../charts/chart338.xml"/><Relationship Id="rId14" Type="http://schemas.openxmlformats.org/officeDocument/2006/relationships/chart" Target="../charts/chart339.xml"/><Relationship Id="rId15" Type="http://schemas.openxmlformats.org/officeDocument/2006/relationships/chart" Target="../charts/chart340.xml"/><Relationship Id="rId16" Type="http://schemas.openxmlformats.org/officeDocument/2006/relationships/chart" Target="../charts/chart34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 Id="rId7" Type="http://schemas.openxmlformats.org/officeDocument/2006/relationships/chart" Target="../charts/chart343.xml"/><Relationship Id="rId8" Type="http://schemas.openxmlformats.org/officeDocument/2006/relationships/chart" Target="../charts/chart344.xml"/><Relationship Id="rId9" Type="http://schemas.openxmlformats.org/officeDocument/2006/relationships/chart" Target="../charts/chart345.xml"/><Relationship Id="rId10" Type="http://schemas.openxmlformats.org/officeDocument/2006/relationships/chart" Target="../charts/chart346.xml"/><Relationship Id="rId11" Type="http://schemas.openxmlformats.org/officeDocument/2006/relationships/chart" Target="../charts/chart347.xml"/><Relationship Id="rId12" Type="http://schemas.openxmlformats.org/officeDocument/2006/relationships/chart" Target="../charts/chart348.xml"/><Relationship Id="rId13" Type="http://schemas.openxmlformats.org/officeDocument/2006/relationships/chart" Target="../charts/chart349.xml"/><Relationship Id="rId14" Type="http://schemas.openxmlformats.org/officeDocument/2006/relationships/chart" Target="../charts/chart350.xml"/><Relationship Id="rId15" Type="http://schemas.openxmlformats.org/officeDocument/2006/relationships/chart" Target="../charts/chart351.xml"/><Relationship Id="rId16" Type="http://schemas.openxmlformats.org/officeDocument/2006/relationships/chart" Target="../charts/chart35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 Id="rId14" Type="http://schemas.openxmlformats.org/officeDocument/2006/relationships/chart" Target="../charts/chart361.xml"/><Relationship Id="rId15" Type="http://schemas.openxmlformats.org/officeDocument/2006/relationships/chart" Target="../charts/chart362.xml"/><Relationship Id="rId16" Type="http://schemas.openxmlformats.org/officeDocument/2006/relationships/chart" Target="../charts/chart36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 Id="rId7" Type="http://schemas.openxmlformats.org/officeDocument/2006/relationships/chart" Target="../charts/chart365.xml"/><Relationship Id="rId8" Type="http://schemas.openxmlformats.org/officeDocument/2006/relationships/chart" Target="../charts/chart366.xml"/><Relationship Id="rId9" Type="http://schemas.openxmlformats.org/officeDocument/2006/relationships/chart" Target="../charts/chart367.xml"/><Relationship Id="rId10" Type="http://schemas.openxmlformats.org/officeDocument/2006/relationships/chart" Target="../charts/chart368.xml"/><Relationship Id="rId11" Type="http://schemas.openxmlformats.org/officeDocument/2006/relationships/chart" Target="../charts/chart369.xml"/><Relationship Id="rId12" Type="http://schemas.openxmlformats.org/officeDocument/2006/relationships/chart" Target="../charts/chart370.xml"/><Relationship Id="rId13" Type="http://schemas.openxmlformats.org/officeDocument/2006/relationships/chart" Target="../charts/chart371.xml"/><Relationship Id="rId14" Type="http://schemas.openxmlformats.org/officeDocument/2006/relationships/chart" Target="../charts/chart372.xml"/><Relationship Id="rId15" Type="http://schemas.openxmlformats.org/officeDocument/2006/relationships/chart" Target="../charts/chart373.xml"/><Relationship Id="rId16" Type="http://schemas.openxmlformats.org/officeDocument/2006/relationships/chart" Target="../charts/chart37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 Id="rId8" Type="http://schemas.openxmlformats.org/officeDocument/2006/relationships/chart" Target="../charts/chart377.xml"/><Relationship Id="rId9" Type="http://schemas.openxmlformats.org/officeDocument/2006/relationships/chart" Target="../charts/chart378.xml"/><Relationship Id="rId10" Type="http://schemas.openxmlformats.org/officeDocument/2006/relationships/chart" Target="../charts/chart379.xml"/><Relationship Id="rId11" Type="http://schemas.openxmlformats.org/officeDocument/2006/relationships/chart" Target="../charts/chart380.xml"/><Relationship Id="rId12" Type="http://schemas.openxmlformats.org/officeDocument/2006/relationships/chart" Target="../charts/chart381.xml"/><Relationship Id="rId13" Type="http://schemas.openxmlformats.org/officeDocument/2006/relationships/chart" Target="../charts/chart382.xml"/><Relationship Id="rId14" Type="http://schemas.openxmlformats.org/officeDocument/2006/relationships/chart" Target="../charts/chart383.xml"/><Relationship Id="rId15" Type="http://schemas.openxmlformats.org/officeDocument/2006/relationships/chart" Target="../charts/chart384.xml"/><Relationship Id="rId16" Type="http://schemas.openxmlformats.org/officeDocument/2006/relationships/chart" Target="../charts/chart38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 Id="rId7" Type="http://schemas.openxmlformats.org/officeDocument/2006/relationships/chart" Target="../charts/chart387.xml"/><Relationship Id="rId8" Type="http://schemas.openxmlformats.org/officeDocument/2006/relationships/chart" Target="../charts/chart388.xml"/><Relationship Id="rId9" Type="http://schemas.openxmlformats.org/officeDocument/2006/relationships/chart" Target="../charts/chart389.xml"/><Relationship Id="rId10" Type="http://schemas.openxmlformats.org/officeDocument/2006/relationships/chart" Target="../charts/chart390.xml"/><Relationship Id="rId11" Type="http://schemas.openxmlformats.org/officeDocument/2006/relationships/chart" Target="../charts/chart391.xml"/><Relationship Id="rId12" Type="http://schemas.openxmlformats.org/officeDocument/2006/relationships/chart" Target="../charts/chart392.xml"/><Relationship Id="rId13" Type="http://schemas.openxmlformats.org/officeDocument/2006/relationships/chart" Target="../charts/chart393.xml"/><Relationship Id="rId14" Type="http://schemas.openxmlformats.org/officeDocument/2006/relationships/chart" Target="../charts/chart394.xml"/><Relationship Id="rId15" Type="http://schemas.openxmlformats.org/officeDocument/2006/relationships/chart" Target="../charts/chart395.xml"/><Relationship Id="rId16" Type="http://schemas.openxmlformats.org/officeDocument/2006/relationships/chart" Target="../charts/chart39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8.xml"/><Relationship Id="rId7" Type="http://schemas.openxmlformats.org/officeDocument/2006/relationships/chart" Target="../charts/chart409.xml"/><Relationship Id="rId8" Type="http://schemas.openxmlformats.org/officeDocument/2006/relationships/chart" Target="../charts/chart410.xml"/><Relationship Id="rId9" Type="http://schemas.openxmlformats.org/officeDocument/2006/relationships/chart" Target="../charts/chart411.xml"/><Relationship Id="rId10" Type="http://schemas.openxmlformats.org/officeDocument/2006/relationships/chart" Target="../charts/chart412.xml"/><Relationship Id="rId11" Type="http://schemas.openxmlformats.org/officeDocument/2006/relationships/chart" Target="../charts/chart413.xml"/><Relationship Id="rId12" Type="http://schemas.openxmlformats.org/officeDocument/2006/relationships/chart" Target="../charts/chart414.xml"/><Relationship Id="rId13" Type="http://schemas.openxmlformats.org/officeDocument/2006/relationships/chart" Target="../charts/chart415.xml"/><Relationship Id="rId14" Type="http://schemas.openxmlformats.org/officeDocument/2006/relationships/chart" Target="../charts/chart416.xml"/><Relationship Id="rId15" Type="http://schemas.openxmlformats.org/officeDocument/2006/relationships/chart" Target="../charts/chart417.xml"/><Relationship Id="rId16" Type="http://schemas.openxmlformats.org/officeDocument/2006/relationships/chart" Target="../charts/chart41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 Id="rId8" Type="http://schemas.openxmlformats.org/officeDocument/2006/relationships/chart" Target="../charts/chart421.xml"/><Relationship Id="rId9" Type="http://schemas.openxmlformats.org/officeDocument/2006/relationships/chart" Target="../charts/chart422.xml"/><Relationship Id="rId10" Type="http://schemas.openxmlformats.org/officeDocument/2006/relationships/chart" Target="../charts/chart423.xml"/><Relationship Id="rId11" Type="http://schemas.openxmlformats.org/officeDocument/2006/relationships/chart" Target="../charts/chart424.xml"/><Relationship Id="rId12" Type="http://schemas.openxmlformats.org/officeDocument/2006/relationships/chart" Target="../charts/chart425.xml"/><Relationship Id="rId13" Type="http://schemas.openxmlformats.org/officeDocument/2006/relationships/chart" Target="../charts/chart426.xml"/><Relationship Id="rId14" Type="http://schemas.openxmlformats.org/officeDocument/2006/relationships/chart" Target="../charts/chart427.xml"/><Relationship Id="rId15" Type="http://schemas.openxmlformats.org/officeDocument/2006/relationships/chart" Target="../charts/chart428.xml"/><Relationship Id="rId16" Type="http://schemas.openxmlformats.org/officeDocument/2006/relationships/chart" Target="../charts/chart42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0.xml"/><Relationship Id="rId7" Type="http://schemas.openxmlformats.org/officeDocument/2006/relationships/chart" Target="../charts/chart431.xml"/><Relationship Id="rId8" Type="http://schemas.openxmlformats.org/officeDocument/2006/relationships/chart" Target="../charts/chart432.xml"/><Relationship Id="rId9" Type="http://schemas.openxmlformats.org/officeDocument/2006/relationships/chart" Target="../charts/chart433.xml"/><Relationship Id="rId10" Type="http://schemas.openxmlformats.org/officeDocument/2006/relationships/chart" Target="../charts/chart434.xml"/><Relationship Id="rId11" Type="http://schemas.openxmlformats.org/officeDocument/2006/relationships/chart" Target="../charts/chart435.xml"/><Relationship Id="rId12" Type="http://schemas.openxmlformats.org/officeDocument/2006/relationships/chart" Target="../charts/chart436.xml"/><Relationship Id="rId13" Type="http://schemas.openxmlformats.org/officeDocument/2006/relationships/chart" Target="../charts/chart437.xml"/><Relationship Id="rId14" Type="http://schemas.openxmlformats.org/officeDocument/2006/relationships/chart" Target="../charts/chart438.xml"/><Relationship Id="rId15" Type="http://schemas.openxmlformats.org/officeDocument/2006/relationships/chart" Target="../charts/chart439.xml"/><Relationship Id="rId16" Type="http://schemas.openxmlformats.org/officeDocument/2006/relationships/chart" Target="../charts/chart4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 Id="rId8" Type="http://schemas.openxmlformats.org/officeDocument/2006/relationships/chart" Target="../charts/chart443.xml"/><Relationship Id="rId9" Type="http://schemas.openxmlformats.org/officeDocument/2006/relationships/chart" Target="../charts/chart444.xml"/><Relationship Id="rId10" Type="http://schemas.openxmlformats.org/officeDocument/2006/relationships/chart" Target="../charts/chart445.xml"/><Relationship Id="rId11" Type="http://schemas.openxmlformats.org/officeDocument/2006/relationships/chart" Target="../charts/chart446.xml"/><Relationship Id="rId12" Type="http://schemas.openxmlformats.org/officeDocument/2006/relationships/chart" Target="../charts/chart447.xml"/><Relationship Id="rId13" Type="http://schemas.openxmlformats.org/officeDocument/2006/relationships/chart" Target="../charts/chart448.xml"/><Relationship Id="rId14" Type="http://schemas.openxmlformats.org/officeDocument/2006/relationships/chart" Target="../charts/chart449.xml"/><Relationship Id="rId15" Type="http://schemas.openxmlformats.org/officeDocument/2006/relationships/chart" Target="../charts/chart450.xml"/><Relationship Id="rId16" Type="http://schemas.openxmlformats.org/officeDocument/2006/relationships/chart" Target="../charts/chart45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2.xml"/><Relationship Id="rId7" Type="http://schemas.openxmlformats.org/officeDocument/2006/relationships/chart" Target="../charts/chart453.xml"/><Relationship Id="rId8" Type="http://schemas.openxmlformats.org/officeDocument/2006/relationships/chart" Target="../charts/chart454.xml"/><Relationship Id="rId9" Type="http://schemas.openxmlformats.org/officeDocument/2006/relationships/chart" Target="../charts/chart455.xml"/><Relationship Id="rId10" Type="http://schemas.openxmlformats.org/officeDocument/2006/relationships/chart" Target="../charts/chart456.xml"/><Relationship Id="rId11" Type="http://schemas.openxmlformats.org/officeDocument/2006/relationships/chart" Target="../charts/chart457.xml"/><Relationship Id="rId12" Type="http://schemas.openxmlformats.org/officeDocument/2006/relationships/chart" Target="../charts/chart458.xml"/><Relationship Id="rId13" Type="http://schemas.openxmlformats.org/officeDocument/2006/relationships/chart" Target="../charts/chart459.xml"/><Relationship Id="rId14" Type="http://schemas.openxmlformats.org/officeDocument/2006/relationships/chart" Target="../charts/chart460.xml"/><Relationship Id="rId15" Type="http://schemas.openxmlformats.org/officeDocument/2006/relationships/chart" Target="../charts/chart461.xml"/><Relationship Id="rId16" Type="http://schemas.openxmlformats.org/officeDocument/2006/relationships/chart" Target="../charts/chart46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 Id="rId7" Type="http://schemas.openxmlformats.org/officeDocument/2006/relationships/chart" Target="../charts/chart464.xml"/><Relationship Id="rId8" Type="http://schemas.openxmlformats.org/officeDocument/2006/relationships/chart" Target="../charts/chart465.xml"/><Relationship Id="rId9" Type="http://schemas.openxmlformats.org/officeDocument/2006/relationships/chart" Target="../charts/chart466.xml"/><Relationship Id="rId10" Type="http://schemas.openxmlformats.org/officeDocument/2006/relationships/chart" Target="../charts/chart467.xml"/><Relationship Id="rId11" Type="http://schemas.openxmlformats.org/officeDocument/2006/relationships/chart" Target="../charts/chart468.xml"/><Relationship Id="rId12" Type="http://schemas.openxmlformats.org/officeDocument/2006/relationships/chart" Target="../charts/chart469.xml"/><Relationship Id="rId13" Type="http://schemas.openxmlformats.org/officeDocument/2006/relationships/chart" Target="../charts/chart470.xml"/><Relationship Id="rId14" Type="http://schemas.openxmlformats.org/officeDocument/2006/relationships/chart" Target="../charts/chart471.xml"/><Relationship Id="rId15" Type="http://schemas.openxmlformats.org/officeDocument/2006/relationships/chart" Target="../charts/chart472.xml"/><Relationship Id="rId16" Type="http://schemas.openxmlformats.org/officeDocument/2006/relationships/chart" Target="../charts/chart47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4.xml"/><Relationship Id="rId7" Type="http://schemas.openxmlformats.org/officeDocument/2006/relationships/chart" Target="../charts/chart475.xml"/><Relationship Id="rId8" Type="http://schemas.openxmlformats.org/officeDocument/2006/relationships/chart" Target="../charts/chart476.xml"/><Relationship Id="rId9" Type="http://schemas.openxmlformats.org/officeDocument/2006/relationships/chart" Target="../charts/chart477.xml"/><Relationship Id="rId10" Type="http://schemas.openxmlformats.org/officeDocument/2006/relationships/chart" Target="../charts/chart478.xml"/><Relationship Id="rId11" Type="http://schemas.openxmlformats.org/officeDocument/2006/relationships/chart" Target="../charts/chart479.xml"/><Relationship Id="rId12" Type="http://schemas.openxmlformats.org/officeDocument/2006/relationships/chart" Target="../charts/chart480.xml"/><Relationship Id="rId13" Type="http://schemas.openxmlformats.org/officeDocument/2006/relationships/chart" Target="../charts/chart481.xml"/><Relationship Id="rId14" Type="http://schemas.openxmlformats.org/officeDocument/2006/relationships/chart" Target="../charts/chart482.xml"/><Relationship Id="rId15" Type="http://schemas.openxmlformats.org/officeDocument/2006/relationships/chart" Target="../charts/chart483.xml"/><Relationship Id="rId16" Type="http://schemas.openxmlformats.org/officeDocument/2006/relationships/chart" Target="../charts/chart48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 Id="rId7" Type="http://schemas.openxmlformats.org/officeDocument/2006/relationships/chart" Target="../charts/chart486.xml"/><Relationship Id="rId8" Type="http://schemas.openxmlformats.org/officeDocument/2006/relationships/chart" Target="../charts/chart487.xml"/><Relationship Id="rId9" Type="http://schemas.openxmlformats.org/officeDocument/2006/relationships/chart" Target="../charts/chart488.xml"/><Relationship Id="rId10" Type="http://schemas.openxmlformats.org/officeDocument/2006/relationships/chart" Target="../charts/chart489.xml"/><Relationship Id="rId11" Type="http://schemas.openxmlformats.org/officeDocument/2006/relationships/chart" Target="../charts/chart490.xml"/><Relationship Id="rId12" Type="http://schemas.openxmlformats.org/officeDocument/2006/relationships/chart" Target="../charts/chart491.xml"/><Relationship Id="rId13" Type="http://schemas.openxmlformats.org/officeDocument/2006/relationships/chart" Target="../charts/chart492.xml"/><Relationship Id="rId14" Type="http://schemas.openxmlformats.org/officeDocument/2006/relationships/chart" Target="../charts/chart493.xml"/><Relationship Id="rId15" Type="http://schemas.openxmlformats.org/officeDocument/2006/relationships/chart" Target="../charts/chart494.xml"/><Relationship Id="rId16" Type="http://schemas.openxmlformats.org/officeDocument/2006/relationships/chart" Target="../charts/chart49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6.xml"/><Relationship Id="rId7" Type="http://schemas.openxmlformats.org/officeDocument/2006/relationships/chart" Target="../charts/chart497.xml"/><Relationship Id="rId8" Type="http://schemas.openxmlformats.org/officeDocument/2006/relationships/chart" Target="../charts/chart498.xml"/><Relationship Id="rId9" Type="http://schemas.openxmlformats.org/officeDocument/2006/relationships/chart" Target="../charts/chart499.xml"/><Relationship Id="rId10" Type="http://schemas.openxmlformats.org/officeDocument/2006/relationships/chart" Target="../charts/chart500.xml"/><Relationship Id="rId11" Type="http://schemas.openxmlformats.org/officeDocument/2006/relationships/chart" Target="../charts/chart501.xml"/><Relationship Id="rId12" Type="http://schemas.openxmlformats.org/officeDocument/2006/relationships/chart" Target="../charts/chart502.xml"/><Relationship Id="rId13" Type="http://schemas.openxmlformats.org/officeDocument/2006/relationships/chart" Target="../charts/chart503.xml"/><Relationship Id="rId14" Type="http://schemas.openxmlformats.org/officeDocument/2006/relationships/chart" Target="../charts/chart504.xml"/><Relationship Id="rId15" Type="http://schemas.openxmlformats.org/officeDocument/2006/relationships/chart" Target="../charts/chart505.xml"/><Relationship Id="rId16" Type="http://schemas.openxmlformats.org/officeDocument/2006/relationships/chart" Target="../charts/chart50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7.xml"/><Relationship Id="rId7" Type="http://schemas.openxmlformats.org/officeDocument/2006/relationships/chart" Target="../charts/chart508.xml"/><Relationship Id="rId8" Type="http://schemas.openxmlformats.org/officeDocument/2006/relationships/chart" Target="../charts/chart509.xml"/><Relationship Id="rId9" Type="http://schemas.openxmlformats.org/officeDocument/2006/relationships/chart" Target="../charts/chart510.xml"/><Relationship Id="rId10" Type="http://schemas.openxmlformats.org/officeDocument/2006/relationships/chart" Target="../charts/chart511.xml"/><Relationship Id="rId11" Type="http://schemas.openxmlformats.org/officeDocument/2006/relationships/chart" Target="../charts/chart512.xml"/><Relationship Id="rId12" Type="http://schemas.openxmlformats.org/officeDocument/2006/relationships/chart" Target="../charts/chart513.xml"/><Relationship Id="rId13" Type="http://schemas.openxmlformats.org/officeDocument/2006/relationships/chart" Target="../charts/chart514.xml"/><Relationship Id="rId14" Type="http://schemas.openxmlformats.org/officeDocument/2006/relationships/chart" Target="../charts/chart515.xml"/><Relationship Id="rId15" Type="http://schemas.openxmlformats.org/officeDocument/2006/relationships/chart" Target="../charts/chart516.xml"/><Relationship Id="rId16" Type="http://schemas.openxmlformats.org/officeDocument/2006/relationships/chart" Target="../charts/chart51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8.xml"/><Relationship Id="rId7" Type="http://schemas.openxmlformats.org/officeDocument/2006/relationships/chart" Target="../charts/chart519.xml"/><Relationship Id="rId8" Type="http://schemas.openxmlformats.org/officeDocument/2006/relationships/chart" Target="../charts/chart520.xml"/><Relationship Id="rId9" Type="http://schemas.openxmlformats.org/officeDocument/2006/relationships/chart" Target="../charts/chart521.xml"/><Relationship Id="rId10" Type="http://schemas.openxmlformats.org/officeDocument/2006/relationships/chart" Target="../charts/chart522.xml"/><Relationship Id="rId11" Type="http://schemas.openxmlformats.org/officeDocument/2006/relationships/chart" Target="../charts/chart523.xml"/><Relationship Id="rId12" Type="http://schemas.openxmlformats.org/officeDocument/2006/relationships/chart" Target="../charts/chart524.xml"/><Relationship Id="rId13" Type="http://schemas.openxmlformats.org/officeDocument/2006/relationships/chart" Target="../charts/chart525.xml"/><Relationship Id="rId14" Type="http://schemas.openxmlformats.org/officeDocument/2006/relationships/chart" Target="../charts/chart526.xml"/><Relationship Id="rId15" Type="http://schemas.openxmlformats.org/officeDocument/2006/relationships/chart" Target="../charts/chart527.xml"/><Relationship Id="rId16" Type="http://schemas.openxmlformats.org/officeDocument/2006/relationships/chart" Target="../charts/chart52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0.xml"/><Relationship Id="rId7" Type="http://schemas.openxmlformats.org/officeDocument/2006/relationships/chart" Target="../charts/chart541.xml"/><Relationship Id="rId8" Type="http://schemas.openxmlformats.org/officeDocument/2006/relationships/chart" Target="../charts/chart542.xml"/><Relationship Id="rId9" Type="http://schemas.openxmlformats.org/officeDocument/2006/relationships/chart" Target="../charts/chart543.xml"/><Relationship Id="rId10" Type="http://schemas.openxmlformats.org/officeDocument/2006/relationships/chart" Target="../charts/chart544.xml"/><Relationship Id="rId11" Type="http://schemas.openxmlformats.org/officeDocument/2006/relationships/chart" Target="../charts/chart545.xml"/><Relationship Id="rId12" Type="http://schemas.openxmlformats.org/officeDocument/2006/relationships/chart" Target="../charts/chart546.xml"/><Relationship Id="rId13" Type="http://schemas.openxmlformats.org/officeDocument/2006/relationships/chart" Target="../charts/chart547.xml"/><Relationship Id="rId14" Type="http://schemas.openxmlformats.org/officeDocument/2006/relationships/chart" Target="../charts/chart548.xml"/><Relationship Id="rId15" Type="http://schemas.openxmlformats.org/officeDocument/2006/relationships/chart" Target="../charts/chart549.xml"/><Relationship Id="rId16" Type="http://schemas.openxmlformats.org/officeDocument/2006/relationships/chart" Target="../charts/chart5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1.xml"/><Relationship Id="rId7" Type="http://schemas.openxmlformats.org/officeDocument/2006/relationships/chart" Target="../charts/chart552.xml"/><Relationship Id="rId8" Type="http://schemas.openxmlformats.org/officeDocument/2006/relationships/chart" Target="../charts/chart553.xml"/><Relationship Id="rId9" Type="http://schemas.openxmlformats.org/officeDocument/2006/relationships/chart" Target="../charts/chart554.xml"/><Relationship Id="rId10" Type="http://schemas.openxmlformats.org/officeDocument/2006/relationships/chart" Target="../charts/chart555.xml"/><Relationship Id="rId11" Type="http://schemas.openxmlformats.org/officeDocument/2006/relationships/chart" Target="../charts/chart556.xml"/><Relationship Id="rId12" Type="http://schemas.openxmlformats.org/officeDocument/2006/relationships/chart" Target="../charts/chart557.xml"/><Relationship Id="rId13" Type="http://schemas.openxmlformats.org/officeDocument/2006/relationships/chart" Target="../charts/chart558.xml"/><Relationship Id="rId14" Type="http://schemas.openxmlformats.org/officeDocument/2006/relationships/chart" Target="../charts/chart559.xml"/><Relationship Id="rId15" Type="http://schemas.openxmlformats.org/officeDocument/2006/relationships/chart" Target="../charts/chart560.xml"/><Relationship Id="rId16" Type="http://schemas.openxmlformats.org/officeDocument/2006/relationships/chart" Target="../charts/chart56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2.xml"/><Relationship Id="rId7" Type="http://schemas.openxmlformats.org/officeDocument/2006/relationships/chart" Target="../charts/chart563.xml"/><Relationship Id="rId8" Type="http://schemas.openxmlformats.org/officeDocument/2006/relationships/chart" Target="../charts/chart564.xml"/><Relationship Id="rId9" Type="http://schemas.openxmlformats.org/officeDocument/2006/relationships/chart" Target="../charts/chart565.xml"/><Relationship Id="rId10" Type="http://schemas.openxmlformats.org/officeDocument/2006/relationships/chart" Target="../charts/chart566.xml"/><Relationship Id="rId11" Type="http://schemas.openxmlformats.org/officeDocument/2006/relationships/chart" Target="../charts/chart567.xml"/><Relationship Id="rId12" Type="http://schemas.openxmlformats.org/officeDocument/2006/relationships/chart" Target="../charts/chart568.xml"/><Relationship Id="rId13" Type="http://schemas.openxmlformats.org/officeDocument/2006/relationships/chart" Target="../charts/chart569.xml"/><Relationship Id="rId14" Type="http://schemas.openxmlformats.org/officeDocument/2006/relationships/chart" Target="../charts/chart570.xml"/><Relationship Id="rId15" Type="http://schemas.openxmlformats.org/officeDocument/2006/relationships/chart" Target="../charts/chart571.xml"/><Relationship Id="rId16" Type="http://schemas.openxmlformats.org/officeDocument/2006/relationships/chart" Target="../charts/chart57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3.xml"/><Relationship Id="rId7" Type="http://schemas.openxmlformats.org/officeDocument/2006/relationships/chart" Target="../charts/chart574.xml"/><Relationship Id="rId8" Type="http://schemas.openxmlformats.org/officeDocument/2006/relationships/chart" Target="../charts/chart575.xml"/><Relationship Id="rId9" Type="http://schemas.openxmlformats.org/officeDocument/2006/relationships/chart" Target="../charts/chart576.xml"/><Relationship Id="rId10" Type="http://schemas.openxmlformats.org/officeDocument/2006/relationships/chart" Target="../charts/chart577.xml"/><Relationship Id="rId11" Type="http://schemas.openxmlformats.org/officeDocument/2006/relationships/chart" Target="../charts/chart578.xml"/><Relationship Id="rId12" Type="http://schemas.openxmlformats.org/officeDocument/2006/relationships/chart" Target="../charts/chart579.xml"/><Relationship Id="rId13" Type="http://schemas.openxmlformats.org/officeDocument/2006/relationships/chart" Target="../charts/chart580.xml"/><Relationship Id="rId14" Type="http://schemas.openxmlformats.org/officeDocument/2006/relationships/chart" Target="../charts/chart581.xml"/><Relationship Id="rId15" Type="http://schemas.openxmlformats.org/officeDocument/2006/relationships/chart" Target="../charts/chart582.xml"/><Relationship Id="rId16" Type="http://schemas.openxmlformats.org/officeDocument/2006/relationships/chart" Target="../charts/chart58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4.xml"/><Relationship Id="rId7" Type="http://schemas.openxmlformats.org/officeDocument/2006/relationships/chart" Target="../charts/chart585.xml"/><Relationship Id="rId8" Type="http://schemas.openxmlformats.org/officeDocument/2006/relationships/chart" Target="../charts/chart586.xml"/><Relationship Id="rId9" Type="http://schemas.openxmlformats.org/officeDocument/2006/relationships/chart" Target="../charts/chart587.xml"/><Relationship Id="rId10" Type="http://schemas.openxmlformats.org/officeDocument/2006/relationships/chart" Target="../charts/chart588.xml"/><Relationship Id="rId11" Type="http://schemas.openxmlformats.org/officeDocument/2006/relationships/chart" Target="../charts/chart589.xml"/><Relationship Id="rId12" Type="http://schemas.openxmlformats.org/officeDocument/2006/relationships/chart" Target="../charts/chart590.xml"/><Relationship Id="rId13" Type="http://schemas.openxmlformats.org/officeDocument/2006/relationships/chart" Target="../charts/chart591.xml"/><Relationship Id="rId14" Type="http://schemas.openxmlformats.org/officeDocument/2006/relationships/chart" Target="../charts/chart592.xml"/><Relationship Id="rId15" Type="http://schemas.openxmlformats.org/officeDocument/2006/relationships/chart" Target="../charts/chart593.xml"/><Relationship Id="rId16" Type="http://schemas.openxmlformats.org/officeDocument/2006/relationships/chart" Target="../charts/chart59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5.xml"/><Relationship Id="rId7" Type="http://schemas.openxmlformats.org/officeDocument/2006/relationships/chart" Target="../charts/chart596.xml"/><Relationship Id="rId8" Type="http://schemas.openxmlformats.org/officeDocument/2006/relationships/chart" Target="../charts/chart597.xml"/><Relationship Id="rId9" Type="http://schemas.openxmlformats.org/officeDocument/2006/relationships/chart" Target="../charts/chart598.xml"/><Relationship Id="rId10" Type="http://schemas.openxmlformats.org/officeDocument/2006/relationships/chart" Target="../charts/chart599.xml"/><Relationship Id="rId11" Type="http://schemas.openxmlformats.org/officeDocument/2006/relationships/chart" Target="../charts/chart600.xml"/><Relationship Id="rId12" Type="http://schemas.openxmlformats.org/officeDocument/2006/relationships/chart" Target="../charts/chart601.xml"/><Relationship Id="rId13" Type="http://schemas.openxmlformats.org/officeDocument/2006/relationships/chart" Target="../charts/chart602.xml"/><Relationship Id="rId14" Type="http://schemas.openxmlformats.org/officeDocument/2006/relationships/chart" Target="../charts/chart603.xml"/><Relationship Id="rId15" Type="http://schemas.openxmlformats.org/officeDocument/2006/relationships/chart" Target="../charts/chart604.xml"/><Relationship Id="rId16" Type="http://schemas.openxmlformats.org/officeDocument/2006/relationships/chart" Target="../charts/chart60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6.xml"/><Relationship Id="rId7" Type="http://schemas.openxmlformats.org/officeDocument/2006/relationships/chart" Target="../charts/chart607.xml"/><Relationship Id="rId8" Type="http://schemas.openxmlformats.org/officeDocument/2006/relationships/chart" Target="../charts/chart608.xml"/><Relationship Id="rId9" Type="http://schemas.openxmlformats.org/officeDocument/2006/relationships/chart" Target="../charts/chart609.xml"/><Relationship Id="rId10" Type="http://schemas.openxmlformats.org/officeDocument/2006/relationships/chart" Target="../charts/chart610.xml"/><Relationship Id="rId11" Type="http://schemas.openxmlformats.org/officeDocument/2006/relationships/chart" Target="../charts/chart611.xml"/><Relationship Id="rId12" Type="http://schemas.openxmlformats.org/officeDocument/2006/relationships/chart" Target="../charts/chart612.xml"/><Relationship Id="rId13" Type="http://schemas.openxmlformats.org/officeDocument/2006/relationships/chart" Target="../charts/chart613.xml"/><Relationship Id="rId14" Type="http://schemas.openxmlformats.org/officeDocument/2006/relationships/chart" Target="../charts/chart614.xml"/><Relationship Id="rId15" Type="http://schemas.openxmlformats.org/officeDocument/2006/relationships/chart" Target="../charts/chart615.xml"/><Relationship Id="rId16" Type="http://schemas.openxmlformats.org/officeDocument/2006/relationships/chart" Target="../charts/chart61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7.xml"/><Relationship Id="rId7" Type="http://schemas.openxmlformats.org/officeDocument/2006/relationships/chart" Target="../charts/chart618.xml"/><Relationship Id="rId8" Type="http://schemas.openxmlformats.org/officeDocument/2006/relationships/chart" Target="../charts/chart619.xml"/><Relationship Id="rId9" Type="http://schemas.openxmlformats.org/officeDocument/2006/relationships/chart" Target="../charts/chart620.xml"/><Relationship Id="rId10" Type="http://schemas.openxmlformats.org/officeDocument/2006/relationships/chart" Target="../charts/chart621.xml"/><Relationship Id="rId11" Type="http://schemas.openxmlformats.org/officeDocument/2006/relationships/chart" Target="../charts/chart622.xml"/><Relationship Id="rId12" Type="http://schemas.openxmlformats.org/officeDocument/2006/relationships/chart" Target="../charts/chart623.xml"/><Relationship Id="rId13" Type="http://schemas.openxmlformats.org/officeDocument/2006/relationships/chart" Target="../charts/chart624.xml"/><Relationship Id="rId14" Type="http://schemas.openxmlformats.org/officeDocument/2006/relationships/chart" Target="../charts/chart625.xml"/><Relationship Id="rId15" Type="http://schemas.openxmlformats.org/officeDocument/2006/relationships/chart" Target="../charts/chart626.xml"/><Relationship Id="rId16" Type="http://schemas.openxmlformats.org/officeDocument/2006/relationships/chart" Target="../charts/chart62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8.xml"/><Relationship Id="rId7" Type="http://schemas.openxmlformats.org/officeDocument/2006/relationships/chart" Target="../charts/chart629.xml"/><Relationship Id="rId8" Type="http://schemas.openxmlformats.org/officeDocument/2006/relationships/chart" Target="../charts/chart630.xml"/><Relationship Id="rId9" Type="http://schemas.openxmlformats.org/officeDocument/2006/relationships/chart" Target="../charts/chart631.xml"/><Relationship Id="rId10" Type="http://schemas.openxmlformats.org/officeDocument/2006/relationships/chart" Target="../charts/chart632.xml"/><Relationship Id="rId11" Type="http://schemas.openxmlformats.org/officeDocument/2006/relationships/chart" Target="../charts/chart633.xml"/><Relationship Id="rId12" Type="http://schemas.openxmlformats.org/officeDocument/2006/relationships/chart" Target="../charts/chart634.xml"/><Relationship Id="rId13" Type="http://schemas.openxmlformats.org/officeDocument/2006/relationships/chart" Target="../charts/chart635.xml"/><Relationship Id="rId14" Type="http://schemas.openxmlformats.org/officeDocument/2006/relationships/chart" Target="../charts/chart636.xml"/><Relationship Id="rId15" Type="http://schemas.openxmlformats.org/officeDocument/2006/relationships/chart" Target="../charts/chart637.xml"/><Relationship Id="rId16" Type="http://schemas.openxmlformats.org/officeDocument/2006/relationships/chart" Target="../charts/chart63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9.xml"/><Relationship Id="rId7" Type="http://schemas.openxmlformats.org/officeDocument/2006/relationships/chart" Target="../charts/chart640.xml"/><Relationship Id="rId8" Type="http://schemas.openxmlformats.org/officeDocument/2006/relationships/chart" Target="../charts/chart641.xml"/><Relationship Id="rId9" Type="http://schemas.openxmlformats.org/officeDocument/2006/relationships/chart" Target="../charts/chart642.xml"/><Relationship Id="rId10" Type="http://schemas.openxmlformats.org/officeDocument/2006/relationships/chart" Target="../charts/chart643.xml"/><Relationship Id="rId11" Type="http://schemas.openxmlformats.org/officeDocument/2006/relationships/chart" Target="../charts/chart644.xml"/><Relationship Id="rId12" Type="http://schemas.openxmlformats.org/officeDocument/2006/relationships/chart" Target="../charts/chart645.xml"/><Relationship Id="rId13" Type="http://schemas.openxmlformats.org/officeDocument/2006/relationships/chart" Target="../charts/chart646.xml"/><Relationship Id="rId14" Type="http://schemas.openxmlformats.org/officeDocument/2006/relationships/chart" Target="../charts/chart647.xml"/><Relationship Id="rId15" Type="http://schemas.openxmlformats.org/officeDocument/2006/relationships/chart" Target="../charts/chart648.xml"/><Relationship Id="rId16" Type="http://schemas.openxmlformats.org/officeDocument/2006/relationships/chart" Target="../charts/chart64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0.xml"/><Relationship Id="rId7" Type="http://schemas.openxmlformats.org/officeDocument/2006/relationships/chart" Target="../charts/chart651.xml"/><Relationship Id="rId8" Type="http://schemas.openxmlformats.org/officeDocument/2006/relationships/chart" Target="../charts/chart652.xml"/><Relationship Id="rId9" Type="http://schemas.openxmlformats.org/officeDocument/2006/relationships/chart" Target="../charts/chart653.xml"/><Relationship Id="rId10" Type="http://schemas.openxmlformats.org/officeDocument/2006/relationships/chart" Target="../charts/chart654.xml"/><Relationship Id="rId11" Type="http://schemas.openxmlformats.org/officeDocument/2006/relationships/chart" Target="../charts/chart655.xml"/><Relationship Id="rId12" Type="http://schemas.openxmlformats.org/officeDocument/2006/relationships/chart" Target="../charts/chart656.xml"/><Relationship Id="rId13" Type="http://schemas.openxmlformats.org/officeDocument/2006/relationships/chart" Target="../charts/chart657.xml"/><Relationship Id="rId14" Type="http://schemas.openxmlformats.org/officeDocument/2006/relationships/chart" Target="../charts/chart658.xml"/><Relationship Id="rId15" Type="http://schemas.openxmlformats.org/officeDocument/2006/relationships/chart" Target="../charts/chart659.xml"/><Relationship Id="rId16" Type="http://schemas.openxmlformats.org/officeDocument/2006/relationships/chart" Target="../charts/chart6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1.xml"/><Relationship Id="rId7" Type="http://schemas.openxmlformats.org/officeDocument/2006/relationships/chart" Target="../charts/chart662.xml"/><Relationship Id="rId8" Type="http://schemas.openxmlformats.org/officeDocument/2006/relationships/chart" Target="../charts/chart663.xml"/><Relationship Id="rId9" Type="http://schemas.openxmlformats.org/officeDocument/2006/relationships/chart" Target="../charts/chart664.xml"/><Relationship Id="rId10" Type="http://schemas.openxmlformats.org/officeDocument/2006/relationships/chart" Target="../charts/chart665.xml"/><Relationship Id="rId11" Type="http://schemas.openxmlformats.org/officeDocument/2006/relationships/chart" Target="../charts/chart666.xml"/><Relationship Id="rId12" Type="http://schemas.openxmlformats.org/officeDocument/2006/relationships/chart" Target="../charts/chart667.xml"/><Relationship Id="rId13" Type="http://schemas.openxmlformats.org/officeDocument/2006/relationships/chart" Target="../charts/chart668.xml"/><Relationship Id="rId14" Type="http://schemas.openxmlformats.org/officeDocument/2006/relationships/chart" Target="../charts/chart669.xml"/><Relationship Id="rId15" Type="http://schemas.openxmlformats.org/officeDocument/2006/relationships/chart" Target="../charts/chart670.xml"/><Relationship Id="rId16" Type="http://schemas.openxmlformats.org/officeDocument/2006/relationships/chart" Target="../charts/chart67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2.xml"/><Relationship Id="rId7" Type="http://schemas.openxmlformats.org/officeDocument/2006/relationships/chart" Target="../charts/chart673.xml"/><Relationship Id="rId8" Type="http://schemas.openxmlformats.org/officeDocument/2006/relationships/chart" Target="../charts/chart674.xml"/><Relationship Id="rId9" Type="http://schemas.openxmlformats.org/officeDocument/2006/relationships/chart" Target="../charts/chart675.xml"/><Relationship Id="rId10" Type="http://schemas.openxmlformats.org/officeDocument/2006/relationships/chart" Target="../charts/chart676.xml"/><Relationship Id="rId11" Type="http://schemas.openxmlformats.org/officeDocument/2006/relationships/chart" Target="../charts/chart677.xml"/><Relationship Id="rId12" Type="http://schemas.openxmlformats.org/officeDocument/2006/relationships/chart" Target="../charts/chart678.xml"/><Relationship Id="rId13" Type="http://schemas.openxmlformats.org/officeDocument/2006/relationships/chart" Target="../charts/chart679.xml"/><Relationship Id="rId14" Type="http://schemas.openxmlformats.org/officeDocument/2006/relationships/chart" Target="../charts/chart680.xml"/><Relationship Id="rId15" Type="http://schemas.openxmlformats.org/officeDocument/2006/relationships/chart" Target="../charts/chart681.xml"/><Relationship Id="rId16" Type="http://schemas.openxmlformats.org/officeDocument/2006/relationships/chart" Target="../charts/chart68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3.xml"/><Relationship Id="rId7" Type="http://schemas.openxmlformats.org/officeDocument/2006/relationships/chart" Target="../charts/chart684.xml"/><Relationship Id="rId8" Type="http://schemas.openxmlformats.org/officeDocument/2006/relationships/chart" Target="../charts/chart685.xml"/><Relationship Id="rId9" Type="http://schemas.openxmlformats.org/officeDocument/2006/relationships/chart" Target="../charts/chart686.xml"/><Relationship Id="rId10" Type="http://schemas.openxmlformats.org/officeDocument/2006/relationships/chart" Target="../charts/chart687.xml"/><Relationship Id="rId11" Type="http://schemas.openxmlformats.org/officeDocument/2006/relationships/chart" Target="../charts/chart688.xml"/><Relationship Id="rId12" Type="http://schemas.openxmlformats.org/officeDocument/2006/relationships/chart" Target="../charts/chart689.xml"/><Relationship Id="rId13" Type="http://schemas.openxmlformats.org/officeDocument/2006/relationships/chart" Target="../charts/chart690.xml"/><Relationship Id="rId14" Type="http://schemas.openxmlformats.org/officeDocument/2006/relationships/chart" Target="../charts/chart691.xml"/><Relationship Id="rId15" Type="http://schemas.openxmlformats.org/officeDocument/2006/relationships/chart" Target="../charts/chart692.xml"/><Relationship Id="rId16" Type="http://schemas.openxmlformats.org/officeDocument/2006/relationships/chart" Target="../charts/chart69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4.xml"/><Relationship Id="rId7" Type="http://schemas.openxmlformats.org/officeDocument/2006/relationships/chart" Target="../charts/chart695.xml"/><Relationship Id="rId8" Type="http://schemas.openxmlformats.org/officeDocument/2006/relationships/chart" Target="../charts/chart696.xml"/><Relationship Id="rId9" Type="http://schemas.openxmlformats.org/officeDocument/2006/relationships/chart" Target="../charts/chart697.xml"/><Relationship Id="rId10" Type="http://schemas.openxmlformats.org/officeDocument/2006/relationships/chart" Target="../charts/chart698.xml"/><Relationship Id="rId11" Type="http://schemas.openxmlformats.org/officeDocument/2006/relationships/chart" Target="../charts/chart699.xml"/><Relationship Id="rId12" Type="http://schemas.openxmlformats.org/officeDocument/2006/relationships/chart" Target="../charts/chart700.xml"/><Relationship Id="rId13" Type="http://schemas.openxmlformats.org/officeDocument/2006/relationships/chart" Target="../charts/chart701.xml"/><Relationship Id="rId14" Type="http://schemas.openxmlformats.org/officeDocument/2006/relationships/chart" Target="../charts/chart702.xml"/><Relationship Id="rId15" Type="http://schemas.openxmlformats.org/officeDocument/2006/relationships/chart" Target="../charts/chart703.xml"/><Relationship Id="rId16" Type="http://schemas.openxmlformats.org/officeDocument/2006/relationships/chart" Target="../charts/chart70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5.xml"/><Relationship Id="rId7" Type="http://schemas.openxmlformats.org/officeDocument/2006/relationships/chart" Target="../charts/chart706.xml"/><Relationship Id="rId8" Type="http://schemas.openxmlformats.org/officeDocument/2006/relationships/chart" Target="../charts/chart707.xml"/><Relationship Id="rId9" Type="http://schemas.openxmlformats.org/officeDocument/2006/relationships/chart" Target="../charts/chart708.xml"/><Relationship Id="rId10" Type="http://schemas.openxmlformats.org/officeDocument/2006/relationships/chart" Target="../charts/chart709.xml"/><Relationship Id="rId11" Type="http://schemas.openxmlformats.org/officeDocument/2006/relationships/chart" Target="../charts/chart710.xml"/><Relationship Id="rId12" Type="http://schemas.openxmlformats.org/officeDocument/2006/relationships/chart" Target="../charts/chart711.xml"/><Relationship Id="rId13" Type="http://schemas.openxmlformats.org/officeDocument/2006/relationships/chart" Target="../charts/chart712.xml"/><Relationship Id="rId14" Type="http://schemas.openxmlformats.org/officeDocument/2006/relationships/chart" Target="../charts/chart713.xml"/><Relationship Id="rId15" Type="http://schemas.openxmlformats.org/officeDocument/2006/relationships/chart" Target="../charts/chart714.xml"/><Relationship Id="rId16" Type="http://schemas.openxmlformats.org/officeDocument/2006/relationships/chart" Target="../charts/chart71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6.xml"/><Relationship Id="rId7" Type="http://schemas.openxmlformats.org/officeDocument/2006/relationships/chart" Target="../charts/chart717.xml"/><Relationship Id="rId8" Type="http://schemas.openxmlformats.org/officeDocument/2006/relationships/chart" Target="../charts/chart718.xml"/><Relationship Id="rId9" Type="http://schemas.openxmlformats.org/officeDocument/2006/relationships/chart" Target="../charts/chart719.xml"/><Relationship Id="rId10" Type="http://schemas.openxmlformats.org/officeDocument/2006/relationships/chart" Target="../charts/chart720.xml"/><Relationship Id="rId11" Type="http://schemas.openxmlformats.org/officeDocument/2006/relationships/chart" Target="../charts/chart721.xml"/><Relationship Id="rId12" Type="http://schemas.openxmlformats.org/officeDocument/2006/relationships/chart" Target="../charts/chart722.xml"/><Relationship Id="rId13" Type="http://schemas.openxmlformats.org/officeDocument/2006/relationships/chart" Target="../charts/chart723.xml"/><Relationship Id="rId14" Type="http://schemas.openxmlformats.org/officeDocument/2006/relationships/chart" Target="../charts/chart724.xml"/><Relationship Id="rId15" Type="http://schemas.openxmlformats.org/officeDocument/2006/relationships/chart" Target="../charts/chart725.xml"/><Relationship Id="rId16" Type="http://schemas.openxmlformats.org/officeDocument/2006/relationships/chart" Target="../charts/chart72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7.xml"/><Relationship Id="rId7" Type="http://schemas.openxmlformats.org/officeDocument/2006/relationships/chart" Target="../charts/chart728.xml"/><Relationship Id="rId8" Type="http://schemas.openxmlformats.org/officeDocument/2006/relationships/chart" Target="../charts/chart729.xml"/><Relationship Id="rId9" Type="http://schemas.openxmlformats.org/officeDocument/2006/relationships/chart" Target="../charts/chart730.xml"/><Relationship Id="rId10" Type="http://schemas.openxmlformats.org/officeDocument/2006/relationships/chart" Target="../charts/chart731.xml"/><Relationship Id="rId11" Type="http://schemas.openxmlformats.org/officeDocument/2006/relationships/chart" Target="../charts/chart732.xml"/><Relationship Id="rId12" Type="http://schemas.openxmlformats.org/officeDocument/2006/relationships/chart" Target="../charts/chart733.xml"/><Relationship Id="rId13" Type="http://schemas.openxmlformats.org/officeDocument/2006/relationships/chart" Target="../charts/chart734.xml"/><Relationship Id="rId14" Type="http://schemas.openxmlformats.org/officeDocument/2006/relationships/chart" Target="../charts/chart735.xml"/><Relationship Id="rId15" Type="http://schemas.openxmlformats.org/officeDocument/2006/relationships/chart" Target="../charts/chart736.xml"/><Relationship Id="rId16" Type="http://schemas.openxmlformats.org/officeDocument/2006/relationships/chart" Target="../charts/chart73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8.xml"/><Relationship Id="rId7" Type="http://schemas.openxmlformats.org/officeDocument/2006/relationships/chart" Target="../charts/chart739.xml"/><Relationship Id="rId8" Type="http://schemas.openxmlformats.org/officeDocument/2006/relationships/chart" Target="../charts/chart740.xml"/><Relationship Id="rId9" Type="http://schemas.openxmlformats.org/officeDocument/2006/relationships/chart" Target="../charts/chart741.xml"/><Relationship Id="rId10" Type="http://schemas.openxmlformats.org/officeDocument/2006/relationships/chart" Target="../charts/chart742.xml"/><Relationship Id="rId11" Type="http://schemas.openxmlformats.org/officeDocument/2006/relationships/chart" Target="../charts/chart743.xml"/><Relationship Id="rId12" Type="http://schemas.openxmlformats.org/officeDocument/2006/relationships/chart" Target="../charts/chart744.xml"/><Relationship Id="rId13" Type="http://schemas.openxmlformats.org/officeDocument/2006/relationships/chart" Target="../charts/chart745.xml"/><Relationship Id="rId14" Type="http://schemas.openxmlformats.org/officeDocument/2006/relationships/chart" Target="../charts/chart746.xml"/><Relationship Id="rId15" Type="http://schemas.openxmlformats.org/officeDocument/2006/relationships/chart" Target="../charts/chart747.xml"/><Relationship Id="rId16" Type="http://schemas.openxmlformats.org/officeDocument/2006/relationships/chart" Target="../charts/chart74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9.xml"/><Relationship Id="rId7" Type="http://schemas.openxmlformats.org/officeDocument/2006/relationships/chart" Target="../charts/chart750.xml"/><Relationship Id="rId8" Type="http://schemas.openxmlformats.org/officeDocument/2006/relationships/chart" Target="../charts/chart751.xml"/><Relationship Id="rId9" Type="http://schemas.openxmlformats.org/officeDocument/2006/relationships/chart" Target="../charts/chart752.xml"/><Relationship Id="rId10" Type="http://schemas.openxmlformats.org/officeDocument/2006/relationships/chart" Target="../charts/chart753.xml"/><Relationship Id="rId11" Type="http://schemas.openxmlformats.org/officeDocument/2006/relationships/chart" Target="../charts/chart754.xml"/><Relationship Id="rId12" Type="http://schemas.openxmlformats.org/officeDocument/2006/relationships/chart" Target="../charts/chart755.xml"/><Relationship Id="rId13" Type="http://schemas.openxmlformats.org/officeDocument/2006/relationships/chart" Target="../charts/chart756.xml"/><Relationship Id="rId14" Type="http://schemas.openxmlformats.org/officeDocument/2006/relationships/chart" Target="../charts/chart757.xml"/><Relationship Id="rId15" Type="http://schemas.openxmlformats.org/officeDocument/2006/relationships/chart" Target="../charts/chart758.xml"/><Relationship Id="rId16" Type="http://schemas.openxmlformats.org/officeDocument/2006/relationships/chart" Target="../charts/chart75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0.xml"/><Relationship Id="rId7" Type="http://schemas.openxmlformats.org/officeDocument/2006/relationships/chart" Target="../charts/chart761.xml"/><Relationship Id="rId8" Type="http://schemas.openxmlformats.org/officeDocument/2006/relationships/chart" Target="../charts/chart762.xml"/><Relationship Id="rId9" Type="http://schemas.openxmlformats.org/officeDocument/2006/relationships/chart" Target="../charts/chart763.xml"/><Relationship Id="rId10" Type="http://schemas.openxmlformats.org/officeDocument/2006/relationships/chart" Target="../charts/chart764.xml"/><Relationship Id="rId11" Type="http://schemas.openxmlformats.org/officeDocument/2006/relationships/chart" Target="../charts/chart765.xml"/><Relationship Id="rId12" Type="http://schemas.openxmlformats.org/officeDocument/2006/relationships/chart" Target="../charts/chart766.xml"/><Relationship Id="rId13" Type="http://schemas.openxmlformats.org/officeDocument/2006/relationships/chart" Target="../charts/chart767.xml"/><Relationship Id="rId14" Type="http://schemas.openxmlformats.org/officeDocument/2006/relationships/chart" Target="../charts/chart768.xml"/><Relationship Id="rId15" Type="http://schemas.openxmlformats.org/officeDocument/2006/relationships/chart" Target="../charts/chart769.xml"/><Relationship Id="rId16" Type="http://schemas.openxmlformats.org/officeDocument/2006/relationships/chart" Target="../charts/chart7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1.xml"/><Relationship Id="rId7" Type="http://schemas.openxmlformats.org/officeDocument/2006/relationships/chart" Target="../charts/chart772.xml"/><Relationship Id="rId8" Type="http://schemas.openxmlformats.org/officeDocument/2006/relationships/chart" Target="../charts/chart773.xml"/><Relationship Id="rId9" Type="http://schemas.openxmlformats.org/officeDocument/2006/relationships/chart" Target="../charts/chart774.xml"/><Relationship Id="rId10" Type="http://schemas.openxmlformats.org/officeDocument/2006/relationships/chart" Target="../charts/chart775.xml"/><Relationship Id="rId11" Type="http://schemas.openxmlformats.org/officeDocument/2006/relationships/chart" Target="../charts/chart776.xml"/><Relationship Id="rId12" Type="http://schemas.openxmlformats.org/officeDocument/2006/relationships/chart" Target="../charts/chart777.xml"/><Relationship Id="rId13" Type="http://schemas.openxmlformats.org/officeDocument/2006/relationships/chart" Target="../charts/chart778.xml"/><Relationship Id="rId14" Type="http://schemas.openxmlformats.org/officeDocument/2006/relationships/chart" Target="../charts/chart779.xml"/><Relationship Id="rId15" Type="http://schemas.openxmlformats.org/officeDocument/2006/relationships/chart" Target="../charts/chart780.xml"/><Relationship Id="rId16" Type="http://schemas.openxmlformats.org/officeDocument/2006/relationships/chart" Target="../charts/chart78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2.xml"/><Relationship Id="rId7" Type="http://schemas.openxmlformats.org/officeDocument/2006/relationships/chart" Target="../charts/chart783.xml"/><Relationship Id="rId8" Type="http://schemas.openxmlformats.org/officeDocument/2006/relationships/chart" Target="../charts/chart784.xml"/><Relationship Id="rId9" Type="http://schemas.openxmlformats.org/officeDocument/2006/relationships/chart" Target="../charts/chart785.xml"/><Relationship Id="rId10" Type="http://schemas.openxmlformats.org/officeDocument/2006/relationships/chart" Target="../charts/chart786.xml"/><Relationship Id="rId11" Type="http://schemas.openxmlformats.org/officeDocument/2006/relationships/chart" Target="../charts/chart787.xml"/><Relationship Id="rId12" Type="http://schemas.openxmlformats.org/officeDocument/2006/relationships/chart" Target="../charts/chart788.xml"/><Relationship Id="rId13" Type="http://schemas.openxmlformats.org/officeDocument/2006/relationships/chart" Target="../charts/chart789.xml"/><Relationship Id="rId14" Type="http://schemas.openxmlformats.org/officeDocument/2006/relationships/chart" Target="../charts/chart790.xml"/><Relationship Id="rId15" Type="http://schemas.openxmlformats.org/officeDocument/2006/relationships/chart" Target="../charts/chart791.xml"/><Relationship Id="rId16" Type="http://schemas.openxmlformats.org/officeDocument/2006/relationships/chart" Target="../charts/chart79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3.xml"/><Relationship Id="rId7" Type="http://schemas.openxmlformats.org/officeDocument/2006/relationships/chart" Target="../charts/chart794.xml"/><Relationship Id="rId8" Type="http://schemas.openxmlformats.org/officeDocument/2006/relationships/chart" Target="../charts/chart795.xml"/><Relationship Id="rId9" Type="http://schemas.openxmlformats.org/officeDocument/2006/relationships/chart" Target="../charts/chart796.xml"/><Relationship Id="rId10" Type="http://schemas.openxmlformats.org/officeDocument/2006/relationships/chart" Target="../charts/chart797.xml"/><Relationship Id="rId11" Type="http://schemas.openxmlformats.org/officeDocument/2006/relationships/chart" Target="../charts/chart798.xml"/><Relationship Id="rId12" Type="http://schemas.openxmlformats.org/officeDocument/2006/relationships/chart" Target="../charts/chart799.xml"/><Relationship Id="rId13" Type="http://schemas.openxmlformats.org/officeDocument/2006/relationships/chart" Target="../charts/chart800.xml"/><Relationship Id="rId14" Type="http://schemas.openxmlformats.org/officeDocument/2006/relationships/chart" Target="../charts/chart801.xml"/><Relationship Id="rId15" Type="http://schemas.openxmlformats.org/officeDocument/2006/relationships/chart" Target="../charts/chart802.xml"/><Relationship Id="rId16" Type="http://schemas.openxmlformats.org/officeDocument/2006/relationships/chart" Target="../charts/chart80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4.xml"/><Relationship Id="rId7" Type="http://schemas.openxmlformats.org/officeDocument/2006/relationships/chart" Target="../charts/chart805.xml"/><Relationship Id="rId8" Type="http://schemas.openxmlformats.org/officeDocument/2006/relationships/chart" Target="../charts/chart806.xml"/><Relationship Id="rId9" Type="http://schemas.openxmlformats.org/officeDocument/2006/relationships/chart" Target="../charts/chart807.xml"/><Relationship Id="rId10" Type="http://schemas.openxmlformats.org/officeDocument/2006/relationships/chart" Target="../charts/chart808.xml"/><Relationship Id="rId11" Type="http://schemas.openxmlformats.org/officeDocument/2006/relationships/chart" Target="../charts/chart809.xml"/><Relationship Id="rId12" Type="http://schemas.openxmlformats.org/officeDocument/2006/relationships/chart" Target="../charts/chart810.xml"/><Relationship Id="rId13" Type="http://schemas.openxmlformats.org/officeDocument/2006/relationships/chart" Target="../charts/chart811.xml"/><Relationship Id="rId14" Type="http://schemas.openxmlformats.org/officeDocument/2006/relationships/chart" Target="../charts/chart812.xml"/><Relationship Id="rId15" Type="http://schemas.openxmlformats.org/officeDocument/2006/relationships/chart" Target="../charts/chart813.xml"/><Relationship Id="rId16" Type="http://schemas.openxmlformats.org/officeDocument/2006/relationships/chart" Target="../charts/chart81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5.xml"/><Relationship Id="rId7" Type="http://schemas.openxmlformats.org/officeDocument/2006/relationships/chart" Target="../charts/chart816.xml"/><Relationship Id="rId8" Type="http://schemas.openxmlformats.org/officeDocument/2006/relationships/chart" Target="../charts/chart817.xml"/><Relationship Id="rId9" Type="http://schemas.openxmlformats.org/officeDocument/2006/relationships/chart" Target="../charts/chart818.xml"/><Relationship Id="rId10" Type="http://schemas.openxmlformats.org/officeDocument/2006/relationships/chart" Target="../charts/chart819.xml"/><Relationship Id="rId11" Type="http://schemas.openxmlformats.org/officeDocument/2006/relationships/chart" Target="../charts/chart820.xml"/><Relationship Id="rId12" Type="http://schemas.openxmlformats.org/officeDocument/2006/relationships/chart" Target="../charts/chart821.xml"/><Relationship Id="rId13" Type="http://schemas.openxmlformats.org/officeDocument/2006/relationships/chart" Target="../charts/chart822.xml"/><Relationship Id="rId14" Type="http://schemas.openxmlformats.org/officeDocument/2006/relationships/chart" Target="../charts/chart823.xml"/><Relationship Id="rId15" Type="http://schemas.openxmlformats.org/officeDocument/2006/relationships/chart" Target="../charts/chart824.xml"/><Relationship Id="rId16" Type="http://schemas.openxmlformats.org/officeDocument/2006/relationships/chart" Target="../charts/chart82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6.xml"/><Relationship Id="rId7" Type="http://schemas.openxmlformats.org/officeDocument/2006/relationships/chart" Target="../charts/chart827.xml"/><Relationship Id="rId8" Type="http://schemas.openxmlformats.org/officeDocument/2006/relationships/chart" Target="../charts/chart828.xml"/><Relationship Id="rId9" Type="http://schemas.openxmlformats.org/officeDocument/2006/relationships/chart" Target="../charts/chart829.xml"/><Relationship Id="rId10" Type="http://schemas.openxmlformats.org/officeDocument/2006/relationships/chart" Target="../charts/chart830.xml"/><Relationship Id="rId11" Type="http://schemas.openxmlformats.org/officeDocument/2006/relationships/chart" Target="../charts/chart831.xml"/><Relationship Id="rId12" Type="http://schemas.openxmlformats.org/officeDocument/2006/relationships/chart" Target="../charts/chart832.xml"/><Relationship Id="rId13" Type="http://schemas.openxmlformats.org/officeDocument/2006/relationships/chart" Target="../charts/chart833.xml"/><Relationship Id="rId14" Type="http://schemas.openxmlformats.org/officeDocument/2006/relationships/chart" Target="../charts/chart834.xml"/><Relationship Id="rId15" Type="http://schemas.openxmlformats.org/officeDocument/2006/relationships/chart" Target="../charts/chart835.xml"/><Relationship Id="rId16" Type="http://schemas.openxmlformats.org/officeDocument/2006/relationships/chart" Target="../charts/chart83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7.xml"/><Relationship Id="rId7" Type="http://schemas.openxmlformats.org/officeDocument/2006/relationships/chart" Target="../charts/chart838.xml"/><Relationship Id="rId8" Type="http://schemas.openxmlformats.org/officeDocument/2006/relationships/chart" Target="../charts/chart839.xml"/><Relationship Id="rId9" Type="http://schemas.openxmlformats.org/officeDocument/2006/relationships/chart" Target="../charts/chart840.xml"/><Relationship Id="rId10" Type="http://schemas.openxmlformats.org/officeDocument/2006/relationships/chart" Target="../charts/chart841.xml"/><Relationship Id="rId11" Type="http://schemas.openxmlformats.org/officeDocument/2006/relationships/chart" Target="../charts/chart842.xml"/><Relationship Id="rId12" Type="http://schemas.openxmlformats.org/officeDocument/2006/relationships/chart" Target="../charts/chart843.xml"/><Relationship Id="rId13" Type="http://schemas.openxmlformats.org/officeDocument/2006/relationships/chart" Target="../charts/chart844.xml"/><Relationship Id="rId14" Type="http://schemas.openxmlformats.org/officeDocument/2006/relationships/chart" Target="../charts/chart845.xml"/><Relationship Id="rId15" Type="http://schemas.openxmlformats.org/officeDocument/2006/relationships/chart" Target="../charts/chart846.xml"/><Relationship Id="rId16" Type="http://schemas.openxmlformats.org/officeDocument/2006/relationships/chart" Target="../charts/chart84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8.xml"/><Relationship Id="rId7" Type="http://schemas.openxmlformats.org/officeDocument/2006/relationships/chart" Target="../charts/chart849.xml"/><Relationship Id="rId8" Type="http://schemas.openxmlformats.org/officeDocument/2006/relationships/chart" Target="../charts/chart850.xml"/><Relationship Id="rId9" Type="http://schemas.openxmlformats.org/officeDocument/2006/relationships/chart" Target="../charts/chart851.xml"/><Relationship Id="rId10" Type="http://schemas.openxmlformats.org/officeDocument/2006/relationships/chart" Target="../charts/chart852.xml"/><Relationship Id="rId11" Type="http://schemas.openxmlformats.org/officeDocument/2006/relationships/chart" Target="../charts/chart853.xml"/><Relationship Id="rId12" Type="http://schemas.openxmlformats.org/officeDocument/2006/relationships/chart" Target="../charts/chart854.xml"/><Relationship Id="rId13" Type="http://schemas.openxmlformats.org/officeDocument/2006/relationships/chart" Target="../charts/chart855.xml"/><Relationship Id="rId14" Type="http://schemas.openxmlformats.org/officeDocument/2006/relationships/chart" Target="../charts/chart856.xml"/><Relationship Id="rId15" Type="http://schemas.openxmlformats.org/officeDocument/2006/relationships/chart" Target="../charts/chart857.xml"/><Relationship Id="rId16" Type="http://schemas.openxmlformats.org/officeDocument/2006/relationships/chart" Target="../charts/chart85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9.xml"/><Relationship Id="rId7" Type="http://schemas.openxmlformats.org/officeDocument/2006/relationships/chart" Target="../charts/chart860.xml"/><Relationship Id="rId8" Type="http://schemas.openxmlformats.org/officeDocument/2006/relationships/chart" Target="../charts/chart861.xml"/><Relationship Id="rId9" Type="http://schemas.openxmlformats.org/officeDocument/2006/relationships/chart" Target="../charts/chart862.xml"/><Relationship Id="rId10" Type="http://schemas.openxmlformats.org/officeDocument/2006/relationships/chart" Target="../charts/chart863.xml"/><Relationship Id="rId11" Type="http://schemas.openxmlformats.org/officeDocument/2006/relationships/chart" Target="../charts/chart864.xml"/><Relationship Id="rId12" Type="http://schemas.openxmlformats.org/officeDocument/2006/relationships/chart" Target="../charts/chart865.xml"/><Relationship Id="rId13" Type="http://schemas.openxmlformats.org/officeDocument/2006/relationships/chart" Target="../charts/chart866.xml"/><Relationship Id="rId14" Type="http://schemas.openxmlformats.org/officeDocument/2006/relationships/chart" Target="../charts/chart867.xml"/><Relationship Id="rId15" Type="http://schemas.openxmlformats.org/officeDocument/2006/relationships/chart" Target="../charts/chart868.xml"/><Relationship Id="rId16" Type="http://schemas.openxmlformats.org/officeDocument/2006/relationships/chart" Target="../charts/chart86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0.xml"/><Relationship Id="rId7" Type="http://schemas.openxmlformats.org/officeDocument/2006/relationships/chart" Target="../charts/chart871.xml"/><Relationship Id="rId8" Type="http://schemas.openxmlformats.org/officeDocument/2006/relationships/chart" Target="../charts/chart872.xml"/><Relationship Id="rId9" Type="http://schemas.openxmlformats.org/officeDocument/2006/relationships/chart" Target="../charts/chart873.xml"/><Relationship Id="rId10" Type="http://schemas.openxmlformats.org/officeDocument/2006/relationships/chart" Target="../charts/chart874.xml"/><Relationship Id="rId11" Type="http://schemas.openxmlformats.org/officeDocument/2006/relationships/chart" Target="../charts/chart875.xml"/><Relationship Id="rId12" Type="http://schemas.openxmlformats.org/officeDocument/2006/relationships/chart" Target="../charts/chart876.xml"/><Relationship Id="rId13" Type="http://schemas.openxmlformats.org/officeDocument/2006/relationships/chart" Target="../charts/chart877.xml"/><Relationship Id="rId14" Type="http://schemas.openxmlformats.org/officeDocument/2006/relationships/chart" Target="../charts/chart878.xml"/><Relationship Id="rId15" Type="http://schemas.openxmlformats.org/officeDocument/2006/relationships/chart" Target="../charts/chart879.xml"/><Relationship Id="rId16" Type="http://schemas.openxmlformats.org/officeDocument/2006/relationships/chart" Target="../charts/chart8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1.xml"/><Relationship Id="rId7" Type="http://schemas.openxmlformats.org/officeDocument/2006/relationships/chart" Target="../charts/chart882.xml"/><Relationship Id="rId8" Type="http://schemas.openxmlformats.org/officeDocument/2006/relationships/chart" Target="../charts/chart883.xml"/><Relationship Id="rId9" Type="http://schemas.openxmlformats.org/officeDocument/2006/relationships/chart" Target="../charts/chart884.xml"/><Relationship Id="rId10" Type="http://schemas.openxmlformats.org/officeDocument/2006/relationships/chart" Target="../charts/chart885.xml"/><Relationship Id="rId11" Type="http://schemas.openxmlformats.org/officeDocument/2006/relationships/chart" Target="../charts/chart886.xml"/><Relationship Id="rId12" Type="http://schemas.openxmlformats.org/officeDocument/2006/relationships/chart" Target="../charts/chart887.xml"/><Relationship Id="rId13" Type="http://schemas.openxmlformats.org/officeDocument/2006/relationships/chart" Target="../charts/chart888.xml"/><Relationship Id="rId14" Type="http://schemas.openxmlformats.org/officeDocument/2006/relationships/chart" Target="../charts/chart889.xml"/><Relationship Id="rId15" Type="http://schemas.openxmlformats.org/officeDocument/2006/relationships/chart" Target="../charts/chart890.xml"/><Relationship Id="rId16" Type="http://schemas.openxmlformats.org/officeDocument/2006/relationships/chart" Target="../charts/chart89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2.xml"/><Relationship Id="rId7" Type="http://schemas.openxmlformats.org/officeDocument/2006/relationships/chart" Target="../charts/chart893.xml"/><Relationship Id="rId8" Type="http://schemas.openxmlformats.org/officeDocument/2006/relationships/chart" Target="../charts/chart894.xml"/><Relationship Id="rId9" Type="http://schemas.openxmlformats.org/officeDocument/2006/relationships/chart" Target="../charts/chart895.xml"/><Relationship Id="rId10" Type="http://schemas.openxmlformats.org/officeDocument/2006/relationships/chart" Target="../charts/chart896.xml"/><Relationship Id="rId11" Type="http://schemas.openxmlformats.org/officeDocument/2006/relationships/chart" Target="../charts/chart897.xml"/><Relationship Id="rId12" Type="http://schemas.openxmlformats.org/officeDocument/2006/relationships/chart" Target="../charts/chart898.xml"/><Relationship Id="rId13" Type="http://schemas.openxmlformats.org/officeDocument/2006/relationships/chart" Target="../charts/chart899.xml"/><Relationship Id="rId14" Type="http://schemas.openxmlformats.org/officeDocument/2006/relationships/chart" Target="../charts/chart900.xml"/><Relationship Id="rId15" Type="http://schemas.openxmlformats.org/officeDocument/2006/relationships/chart" Target="../charts/chart901.xml"/><Relationship Id="rId16" Type="http://schemas.openxmlformats.org/officeDocument/2006/relationships/chart" Target="../charts/chart90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3.xml"/><Relationship Id="rId7" Type="http://schemas.openxmlformats.org/officeDocument/2006/relationships/chart" Target="../charts/chart904.xml"/><Relationship Id="rId8" Type="http://schemas.openxmlformats.org/officeDocument/2006/relationships/chart" Target="../charts/chart905.xml"/><Relationship Id="rId9" Type="http://schemas.openxmlformats.org/officeDocument/2006/relationships/chart" Target="../charts/chart906.xml"/><Relationship Id="rId10" Type="http://schemas.openxmlformats.org/officeDocument/2006/relationships/chart" Target="../charts/chart907.xml"/><Relationship Id="rId11" Type="http://schemas.openxmlformats.org/officeDocument/2006/relationships/chart" Target="../charts/chart908.xml"/><Relationship Id="rId12" Type="http://schemas.openxmlformats.org/officeDocument/2006/relationships/chart" Target="../charts/chart909.xml"/><Relationship Id="rId13" Type="http://schemas.openxmlformats.org/officeDocument/2006/relationships/chart" Target="../charts/chart910.xml"/><Relationship Id="rId14" Type="http://schemas.openxmlformats.org/officeDocument/2006/relationships/chart" Target="../charts/chart911.xml"/><Relationship Id="rId15" Type="http://schemas.openxmlformats.org/officeDocument/2006/relationships/chart" Target="../charts/chart912.xml"/><Relationship Id="rId16" Type="http://schemas.openxmlformats.org/officeDocument/2006/relationships/chart" Target="../charts/chart91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4.xml"/><Relationship Id="rId7" Type="http://schemas.openxmlformats.org/officeDocument/2006/relationships/chart" Target="../charts/chart915.xml"/><Relationship Id="rId8" Type="http://schemas.openxmlformats.org/officeDocument/2006/relationships/chart" Target="../charts/chart916.xml"/><Relationship Id="rId9" Type="http://schemas.openxmlformats.org/officeDocument/2006/relationships/chart" Target="../charts/chart917.xml"/><Relationship Id="rId10" Type="http://schemas.openxmlformats.org/officeDocument/2006/relationships/chart" Target="../charts/chart918.xml"/><Relationship Id="rId11" Type="http://schemas.openxmlformats.org/officeDocument/2006/relationships/chart" Target="../charts/chart919.xml"/><Relationship Id="rId12" Type="http://schemas.openxmlformats.org/officeDocument/2006/relationships/chart" Target="../charts/chart920.xml"/><Relationship Id="rId13" Type="http://schemas.openxmlformats.org/officeDocument/2006/relationships/chart" Target="../charts/chart921.xml"/><Relationship Id="rId14" Type="http://schemas.openxmlformats.org/officeDocument/2006/relationships/chart" Target="../charts/chart922.xml"/><Relationship Id="rId15" Type="http://schemas.openxmlformats.org/officeDocument/2006/relationships/chart" Target="../charts/chart923.xml"/><Relationship Id="rId16" Type="http://schemas.openxmlformats.org/officeDocument/2006/relationships/chart" Target="../charts/chart92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5.xml"/><Relationship Id="rId7" Type="http://schemas.openxmlformats.org/officeDocument/2006/relationships/chart" Target="../charts/chart926.xml"/><Relationship Id="rId8" Type="http://schemas.openxmlformats.org/officeDocument/2006/relationships/chart" Target="../charts/chart927.xml"/><Relationship Id="rId9" Type="http://schemas.openxmlformats.org/officeDocument/2006/relationships/chart" Target="../charts/chart928.xml"/><Relationship Id="rId10" Type="http://schemas.openxmlformats.org/officeDocument/2006/relationships/chart" Target="../charts/chart929.xml"/><Relationship Id="rId11" Type="http://schemas.openxmlformats.org/officeDocument/2006/relationships/chart" Target="../charts/chart930.xml"/><Relationship Id="rId12" Type="http://schemas.openxmlformats.org/officeDocument/2006/relationships/chart" Target="../charts/chart931.xml"/><Relationship Id="rId13" Type="http://schemas.openxmlformats.org/officeDocument/2006/relationships/chart" Target="../charts/chart932.xml"/><Relationship Id="rId14" Type="http://schemas.openxmlformats.org/officeDocument/2006/relationships/chart" Target="../charts/chart933.xml"/><Relationship Id="rId15" Type="http://schemas.openxmlformats.org/officeDocument/2006/relationships/chart" Target="../charts/chart934.xml"/><Relationship Id="rId16" Type="http://schemas.openxmlformats.org/officeDocument/2006/relationships/chart" Target="../charts/chart93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6.xml"/><Relationship Id="rId7" Type="http://schemas.openxmlformats.org/officeDocument/2006/relationships/chart" Target="../charts/chart937.xml"/><Relationship Id="rId8" Type="http://schemas.openxmlformats.org/officeDocument/2006/relationships/chart" Target="../charts/chart938.xml"/><Relationship Id="rId9" Type="http://schemas.openxmlformats.org/officeDocument/2006/relationships/chart" Target="../charts/chart939.xml"/><Relationship Id="rId10" Type="http://schemas.openxmlformats.org/officeDocument/2006/relationships/chart" Target="../charts/chart940.xml"/><Relationship Id="rId11" Type="http://schemas.openxmlformats.org/officeDocument/2006/relationships/chart" Target="../charts/chart941.xml"/><Relationship Id="rId12" Type="http://schemas.openxmlformats.org/officeDocument/2006/relationships/chart" Target="../charts/chart942.xml"/><Relationship Id="rId13" Type="http://schemas.openxmlformats.org/officeDocument/2006/relationships/chart" Target="../charts/chart943.xml"/><Relationship Id="rId14" Type="http://schemas.openxmlformats.org/officeDocument/2006/relationships/chart" Target="../charts/chart944.xml"/><Relationship Id="rId15" Type="http://schemas.openxmlformats.org/officeDocument/2006/relationships/chart" Target="../charts/chart945.xml"/><Relationship Id="rId16" Type="http://schemas.openxmlformats.org/officeDocument/2006/relationships/chart" Target="../charts/chart94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7.xml"/><Relationship Id="rId7" Type="http://schemas.openxmlformats.org/officeDocument/2006/relationships/chart" Target="../charts/chart948.xml"/><Relationship Id="rId8" Type="http://schemas.openxmlformats.org/officeDocument/2006/relationships/chart" Target="../charts/chart949.xml"/><Relationship Id="rId9" Type="http://schemas.openxmlformats.org/officeDocument/2006/relationships/chart" Target="../charts/chart950.xml"/><Relationship Id="rId10" Type="http://schemas.openxmlformats.org/officeDocument/2006/relationships/chart" Target="../charts/chart951.xml"/><Relationship Id="rId11" Type="http://schemas.openxmlformats.org/officeDocument/2006/relationships/chart" Target="../charts/chart952.xml"/><Relationship Id="rId12" Type="http://schemas.openxmlformats.org/officeDocument/2006/relationships/chart" Target="../charts/chart953.xml"/><Relationship Id="rId13" Type="http://schemas.openxmlformats.org/officeDocument/2006/relationships/chart" Target="../charts/chart954.xml"/><Relationship Id="rId14" Type="http://schemas.openxmlformats.org/officeDocument/2006/relationships/chart" Target="../charts/chart955.xml"/><Relationship Id="rId15" Type="http://schemas.openxmlformats.org/officeDocument/2006/relationships/chart" Target="../charts/chart956.xml"/><Relationship Id="rId16" Type="http://schemas.openxmlformats.org/officeDocument/2006/relationships/chart" Target="../charts/chart95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8.xml"/><Relationship Id="rId7" Type="http://schemas.openxmlformats.org/officeDocument/2006/relationships/chart" Target="../charts/chart959.xml"/><Relationship Id="rId8" Type="http://schemas.openxmlformats.org/officeDocument/2006/relationships/chart" Target="../charts/chart960.xml"/><Relationship Id="rId9" Type="http://schemas.openxmlformats.org/officeDocument/2006/relationships/chart" Target="../charts/chart961.xml"/><Relationship Id="rId10" Type="http://schemas.openxmlformats.org/officeDocument/2006/relationships/chart" Target="../charts/chart962.xml"/><Relationship Id="rId11" Type="http://schemas.openxmlformats.org/officeDocument/2006/relationships/chart" Target="../charts/chart963.xml"/><Relationship Id="rId12" Type="http://schemas.openxmlformats.org/officeDocument/2006/relationships/chart" Target="../charts/chart964.xml"/><Relationship Id="rId13" Type="http://schemas.openxmlformats.org/officeDocument/2006/relationships/chart" Target="../charts/chart965.xml"/><Relationship Id="rId14" Type="http://schemas.openxmlformats.org/officeDocument/2006/relationships/chart" Target="../charts/chart966.xml"/><Relationship Id="rId15" Type="http://schemas.openxmlformats.org/officeDocument/2006/relationships/chart" Target="../charts/chart967.xml"/><Relationship Id="rId16" Type="http://schemas.openxmlformats.org/officeDocument/2006/relationships/chart" Target="../charts/chart96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9.xml"/><Relationship Id="rId7" Type="http://schemas.openxmlformats.org/officeDocument/2006/relationships/chart" Target="../charts/chart970.xml"/><Relationship Id="rId8" Type="http://schemas.openxmlformats.org/officeDocument/2006/relationships/chart" Target="../charts/chart971.xml"/><Relationship Id="rId9" Type="http://schemas.openxmlformats.org/officeDocument/2006/relationships/chart" Target="../charts/chart972.xml"/><Relationship Id="rId10" Type="http://schemas.openxmlformats.org/officeDocument/2006/relationships/chart" Target="../charts/chart973.xml"/><Relationship Id="rId11" Type="http://schemas.openxmlformats.org/officeDocument/2006/relationships/chart" Target="../charts/chart974.xml"/><Relationship Id="rId12" Type="http://schemas.openxmlformats.org/officeDocument/2006/relationships/chart" Target="../charts/chart975.xml"/><Relationship Id="rId13" Type="http://schemas.openxmlformats.org/officeDocument/2006/relationships/chart" Target="../charts/chart976.xml"/><Relationship Id="rId14" Type="http://schemas.openxmlformats.org/officeDocument/2006/relationships/chart" Target="../charts/chart977.xml"/><Relationship Id="rId15" Type="http://schemas.openxmlformats.org/officeDocument/2006/relationships/chart" Target="../charts/chart978.xml"/><Relationship Id="rId16" Type="http://schemas.openxmlformats.org/officeDocument/2006/relationships/chart" Target="../charts/chart97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0.xml"/><Relationship Id="rId7" Type="http://schemas.openxmlformats.org/officeDocument/2006/relationships/chart" Target="../charts/chart981.xml"/><Relationship Id="rId8" Type="http://schemas.openxmlformats.org/officeDocument/2006/relationships/chart" Target="../charts/chart982.xml"/><Relationship Id="rId9" Type="http://schemas.openxmlformats.org/officeDocument/2006/relationships/chart" Target="../charts/chart983.xml"/><Relationship Id="rId10" Type="http://schemas.openxmlformats.org/officeDocument/2006/relationships/chart" Target="../charts/chart984.xml"/><Relationship Id="rId11" Type="http://schemas.openxmlformats.org/officeDocument/2006/relationships/chart" Target="../charts/chart985.xml"/><Relationship Id="rId12" Type="http://schemas.openxmlformats.org/officeDocument/2006/relationships/chart" Target="../charts/chart986.xml"/><Relationship Id="rId13" Type="http://schemas.openxmlformats.org/officeDocument/2006/relationships/chart" Target="../charts/chart987.xml"/><Relationship Id="rId14" Type="http://schemas.openxmlformats.org/officeDocument/2006/relationships/chart" Target="../charts/chart988.xml"/><Relationship Id="rId15" Type="http://schemas.openxmlformats.org/officeDocument/2006/relationships/chart" Target="../charts/chart989.xml"/><Relationship Id="rId16" Type="http://schemas.openxmlformats.org/officeDocument/2006/relationships/chart" Target="../charts/chart9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1.xml"/><Relationship Id="rId7" Type="http://schemas.openxmlformats.org/officeDocument/2006/relationships/chart" Target="../charts/chart992.xml"/><Relationship Id="rId8" Type="http://schemas.openxmlformats.org/officeDocument/2006/relationships/chart" Target="../charts/chart993.xml"/><Relationship Id="rId9" Type="http://schemas.openxmlformats.org/officeDocument/2006/relationships/chart" Target="../charts/chart994.xml"/><Relationship Id="rId10" Type="http://schemas.openxmlformats.org/officeDocument/2006/relationships/chart" Target="../charts/chart995.xml"/><Relationship Id="rId11" Type="http://schemas.openxmlformats.org/officeDocument/2006/relationships/chart" Target="../charts/chart996.xml"/><Relationship Id="rId12" Type="http://schemas.openxmlformats.org/officeDocument/2006/relationships/chart" Target="../charts/chart997.xml"/><Relationship Id="rId13" Type="http://schemas.openxmlformats.org/officeDocument/2006/relationships/chart" Target="../charts/chart998.xml"/><Relationship Id="rId14" Type="http://schemas.openxmlformats.org/officeDocument/2006/relationships/chart" Target="../charts/chart999.xml"/><Relationship Id="rId15" Type="http://schemas.openxmlformats.org/officeDocument/2006/relationships/chart" Target="../charts/chart1000.xml"/><Relationship Id="rId16" Type="http://schemas.openxmlformats.org/officeDocument/2006/relationships/chart" Target="../charts/chart100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2.xml"/><Relationship Id="rId7" Type="http://schemas.openxmlformats.org/officeDocument/2006/relationships/chart" Target="../charts/chart1003.xml"/><Relationship Id="rId8" Type="http://schemas.openxmlformats.org/officeDocument/2006/relationships/chart" Target="../charts/chart1004.xml"/><Relationship Id="rId9" Type="http://schemas.openxmlformats.org/officeDocument/2006/relationships/chart" Target="../charts/chart1005.xml"/><Relationship Id="rId10" Type="http://schemas.openxmlformats.org/officeDocument/2006/relationships/chart" Target="../charts/chart1006.xml"/><Relationship Id="rId11" Type="http://schemas.openxmlformats.org/officeDocument/2006/relationships/chart" Target="../charts/chart1007.xml"/><Relationship Id="rId12" Type="http://schemas.openxmlformats.org/officeDocument/2006/relationships/chart" Target="../charts/chart1008.xml"/><Relationship Id="rId13" Type="http://schemas.openxmlformats.org/officeDocument/2006/relationships/chart" Target="../charts/chart1009.xml"/><Relationship Id="rId14" Type="http://schemas.openxmlformats.org/officeDocument/2006/relationships/chart" Target="../charts/chart1010.xml"/><Relationship Id="rId15" Type="http://schemas.openxmlformats.org/officeDocument/2006/relationships/chart" Target="../charts/chart1011.xml"/><Relationship Id="rId16" Type="http://schemas.openxmlformats.org/officeDocument/2006/relationships/chart" Target="../charts/chart101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3.xml"/><Relationship Id="rId7" Type="http://schemas.openxmlformats.org/officeDocument/2006/relationships/chart" Target="../charts/chart1014.xml"/><Relationship Id="rId8" Type="http://schemas.openxmlformats.org/officeDocument/2006/relationships/chart" Target="../charts/chart1015.xml"/><Relationship Id="rId9" Type="http://schemas.openxmlformats.org/officeDocument/2006/relationships/chart" Target="../charts/chart1016.xml"/><Relationship Id="rId10" Type="http://schemas.openxmlformats.org/officeDocument/2006/relationships/chart" Target="../charts/chart1017.xml"/><Relationship Id="rId11" Type="http://schemas.openxmlformats.org/officeDocument/2006/relationships/chart" Target="../charts/chart1018.xml"/><Relationship Id="rId12" Type="http://schemas.openxmlformats.org/officeDocument/2006/relationships/chart" Target="../charts/chart1019.xml"/><Relationship Id="rId13" Type="http://schemas.openxmlformats.org/officeDocument/2006/relationships/chart" Target="../charts/chart1020.xml"/><Relationship Id="rId14" Type="http://schemas.openxmlformats.org/officeDocument/2006/relationships/chart" Target="../charts/chart1021.xml"/><Relationship Id="rId15" Type="http://schemas.openxmlformats.org/officeDocument/2006/relationships/chart" Target="../charts/chart1022.xml"/><Relationship Id="rId16" Type="http://schemas.openxmlformats.org/officeDocument/2006/relationships/chart" Target="../charts/chart102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4.xml"/><Relationship Id="rId7" Type="http://schemas.openxmlformats.org/officeDocument/2006/relationships/chart" Target="../charts/chart1025.xml"/><Relationship Id="rId8" Type="http://schemas.openxmlformats.org/officeDocument/2006/relationships/chart" Target="../charts/chart1026.xml"/><Relationship Id="rId9" Type="http://schemas.openxmlformats.org/officeDocument/2006/relationships/chart" Target="../charts/chart1027.xml"/><Relationship Id="rId10" Type="http://schemas.openxmlformats.org/officeDocument/2006/relationships/chart" Target="../charts/chart1028.xml"/><Relationship Id="rId11" Type="http://schemas.openxmlformats.org/officeDocument/2006/relationships/chart" Target="../charts/chart1029.xml"/><Relationship Id="rId12" Type="http://schemas.openxmlformats.org/officeDocument/2006/relationships/chart" Target="../charts/chart1030.xml"/><Relationship Id="rId13" Type="http://schemas.openxmlformats.org/officeDocument/2006/relationships/chart" Target="../charts/chart1031.xml"/><Relationship Id="rId14" Type="http://schemas.openxmlformats.org/officeDocument/2006/relationships/chart" Target="../charts/chart1032.xml"/><Relationship Id="rId15" Type="http://schemas.openxmlformats.org/officeDocument/2006/relationships/chart" Target="../charts/chart1033.xml"/><Relationship Id="rId16" Type="http://schemas.openxmlformats.org/officeDocument/2006/relationships/chart" Target="../charts/chart103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5.xml"/><Relationship Id="rId7" Type="http://schemas.openxmlformats.org/officeDocument/2006/relationships/chart" Target="../charts/chart1036.xml"/><Relationship Id="rId8" Type="http://schemas.openxmlformats.org/officeDocument/2006/relationships/chart" Target="../charts/chart1037.xml"/><Relationship Id="rId9" Type="http://schemas.openxmlformats.org/officeDocument/2006/relationships/chart" Target="../charts/chart1038.xml"/><Relationship Id="rId10" Type="http://schemas.openxmlformats.org/officeDocument/2006/relationships/chart" Target="../charts/chart1039.xml"/><Relationship Id="rId11" Type="http://schemas.openxmlformats.org/officeDocument/2006/relationships/chart" Target="../charts/chart1040.xml"/><Relationship Id="rId12" Type="http://schemas.openxmlformats.org/officeDocument/2006/relationships/chart" Target="../charts/chart1041.xml"/><Relationship Id="rId13" Type="http://schemas.openxmlformats.org/officeDocument/2006/relationships/chart" Target="../charts/chart1042.xml"/><Relationship Id="rId14" Type="http://schemas.openxmlformats.org/officeDocument/2006/relationships/chart" Target="../charts/chart1043.xml"/><Relationship Id="rId15" Type="http://schemas.openxmlformats.org/officeDocument/2006/relationships/chart" Target="../charts/chart1044.xml"/><Relationship Id="rId16" Type="http://schemas.openxmlformats.org/officeDocument/2006/relationships/chart" Target="../charts/chart104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6.xml"/><Relationship Id="rId7" Type="http://schemas.openxmlformats.org/officeDocument/2006/relationships/chart" Target="../charts/chart1047.xml"/><Relationship Id="rId8" Type="http://schemas.openxmlformats.org/officeDocument/2006/relationships/chart" Target="../charts/chart1048.xml"/><Relationship Id="rId9" Type="http://schemas.openxmlformats.org/officeDocument/2006/relationships/chart" Target="../charts/chart1049.xml"/><Relationship Id="rId10" Type="http://schemas.openxmlformats.org/officeDocument/2006/relationships/chart" Target="../charts/chart1050.xml"/><Relationship Id="rId11" Type="http://schemas.openxmlformats.org/officeDocument/2006/relationships/chart" Target="../charts/chart1051.xml"/><Relationship Id="rId12" Type="http://schemas.openxmlformats.org/officeDocument/2006/relationships/chart" Target="../charts/chart1052.xml"/><Relationship Id="rId13" Type="http://schemas.openxmlformats.org/officeDocument/2006/relationships/chart" Target="../charts/chart1053.xml"/><Relationship Id="rId14" Type="http://schemas.openxmlformats.org/officeDocument/2006/relationships/chart" Target="../charts/chart1054.xml"/><Relationship Id="rId15" Type="http://schemas.openxmlformats.org/officeDocument/2006/relationships/chart" Target="../charts/chart1055.xml"/><Relationship Id="rId16" Type="http://schemas.openxmlformats.org/officeDocument/2006/relationships/chart" Target="../charts/chart105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7.xml"/><Relationship Id="rId7" Type="http://schemas.openxmlformats.org/officeDocument/2006/relationships/chart" Target="../charts/chart1058.xml"/><Relationship Id="rId8" Type="http://schemas.openxmlformats.org/officeDocument/2006/relationships/chart" Target="../charts/chart1059.xml"/><Relationship Id="rId9" Type="http://schemas.openxmlformats.org/officeDocument/2006/relationships/chart" Target="../charts/chart1060.xml"/><Relationship Id="rId10" Type="http://schemas.openxmlformats.org/officeDocument/2006/relationships/chart" Target="../charts/chart1061.xml"/><Relationship Id="rId11" Type="http://schemas.openxmlformats.org/officeDocument/2006/relationships/chart" Target="../charts/chart1062.xml"/><Relationship Id="rId12" Type="http://schemas.openxmlformats.org/officeDocument/2006/relationships/chart" Target="../charts/chart1063.xml"/><Relationship Id="rId13" Type="http://schemas.openxmlformats.org/officeDocument/2006/relationships/chart" Target="../charts/chart1064.xml"/><Relationship Id="rId14" Type="http://schemas.openxmlformats.org/officeDocument/2006/relationships/chart" Target="../charts/chart1065.xml"/><Relationship Id="rId15" Type="http://schemas.openxmlformats.org/officeDocument/2006/relationships/chart" Target="../charts/chart1066.xml"/><Relationship Id="rId16" Type="http://schemas.openxmlformats.org/officeDocument/2006/relationships/chart" Target="../charts/chart106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8.xml"/><Relationship Id="rId7" Type="http://schemas.openxmlformats.org/officeDocument/2006/relationships/chart" Target="../charts/chart1069.xml"/><Relationship Id="rId8" Type="http://schemas.openxmlformats.org/officeDocument/2006/relationships/chart" Target="../charts/chart1070.xml"/><Relationship Id="rId9" Type="http://schemas.openxmlformats.org/officeDocument/2006/relationships/chart" Target="../charts/chart1071.xml"/><Relationship Id="rId10" Type="http://schemas.openxmlformats.org/officeDocument/2006/relationships/chart" Target="../charts/chart1072.xml"/><Relationship Id="rId11" Type="http://schemas.openxmlformats.org/officeDocument/2006/relationships/chart" Target="../charts/chart1073.xml"/><Relationship Id="rId12" Type="http://schemas.openxmlformats.org/officeDocument/2006/relationships/chart" Target="../charts/chart1074.xml"/><Relationship Id="rId13" Type="http://schemas.openxmlformats.org/officeDocument/2006/relationships/chart" Target="../charts/chart1075.xml"/><Relationship Id="rId14" Type="http://schemas.openxmlformats.org/officeDocument/2006/relationships/chart" Target="../charts/chart1076.xml"/><Relationship Id="rId15" Type="http://schemas.openxmlformats.org/officeDocument/2006/relationships/chart" Target="../charts/chart1077.xml"/><Relationship Id="rId16" Type="http://schemas.openxmlformats.org/officeDocument/2006/relationships/chart" Target="../charts/chart107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9.xml"/><Relationship Id="rId7" Type="http://schemas.openxmlformats.org/officeDocument/2006/relationships/chart" Target="../charts/chart1080.xml"/><Relationship Id="rId8" Type="http://schemas.openxmlformats.org/officeDocument/2006/relationships/chart" Target="../charts/chart1081.xml"/><Relationship Id="rId9" Type="http://schemas.openxmlformats.org/officeDocument/2006/relationships/chart" Target="../charts/chart1082.xml"/><Relationship Id="rId10" Type="http://schemas.openxmlformats.org/officeDocument/2006/relationships/chart" Target="../charts/chart1083.xml"/><Relationship Id="rId11" Type="http://schemas.openxmlformats.org/officeDocument/2006/relationships/chart" Target="../charts/chart1084.xml"/><Relationship Id="rId12" Type="http://schemas.openxmlformats.org/officeDocument/2006/relationships/chart" Target="../charts/chart1085.xml"/><Relationship Id="rId13" Type="http://schemas.openxmlformats.org/officeDocument/2006/relationships/chart" Target="../charts/chart1086.xml"/><Relationship Id="rId14" Type="http://schemas.openxmlformats.org/officeDocument/2006/relationships/chart" Target="../charts/chart1087.xml"/><Relationship Id="rId15" Type="http://schemas.openxmlformats.org/officeDocument/2006/relationships/chart" Target="../charts/chart1088.xml"/><Relationship Id="rId16" Type="http://schemas.openxmlformats.org/officeDocument/2006/relationships/chart" Target="../charts/chart10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51456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54115917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454994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2197630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1797026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0232573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0442228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410980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2725149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481204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684833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209800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830743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20847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2976039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0471022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46264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852195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0068535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518228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816168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88491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814056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6493606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56869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9481351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1205220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93250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56802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180997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77220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7018187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908790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0278640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9203051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889137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4132385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5474025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226730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8331274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933778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431680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913432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897048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500286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1792745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037179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965585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6664890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2000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309738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956693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8257764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029846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743562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710369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234547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2222009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237383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955491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096215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404684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963295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508152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712865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2667197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632240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531724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6852896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2927057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450295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38561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95538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2317846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068953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7105850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288365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532231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634438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737338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7283515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030962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50478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7416620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767151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684274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21842443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1571663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70161603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17627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243950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8272057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6916351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392732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8883046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95451099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862053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509060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04699689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9823074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2354680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3592933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433400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37490253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078108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13965</Words>
  <Application>Microsoft Office PowerPoint</Application>
  <PresentationFormat>On-screen Show (16:9)</PresentationFormat>
  <Paragraphs>4095</Paragraphs>
  <Slides>105</Slides>
  <Notes>10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5</vt:i4>
      </vt:variant>
    </vt:vector>
  </HeadingPairs>
  <TitlesOfParts>
    <vt:vector size="11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3T09:2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